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7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8.xml" ContentType="application/vnd.openxmlformats-officedocument.theme+xml"/>
  <Override PartName="/ppt/tags/tag12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9.xml" ContentType="application/vnd.openxmlformats-officedocument.theme+xml"/>
  <Override PartName="/ppt/tags/tag13.xml" ContentType="application/vnd.openxmlformats-officedocument.presentationml.tags+xml"/>
  <Override PartName="/ppt/theme/theme10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1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12.xml" ContentType="application/vnd.openxmlformats-officedocument.theme+xml"/>
  <Override PartName="/ppt/tags/tag19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13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14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15.xml" ContentType="application/vnd.openxmlformats-officedocument.theme+xml"/>
  <Override PartName="/ppt/theme/theme16.xml" ContentType="application/vnd.openxmlformats-officedocument.theme+xml"/>
  <Override PartName="/ppt/slideLayouts/slideLayout98.xml" ContentType="application/vnd.openxmlformats-officedocument.presentationml.slideLayout+xml"/>
  <Override PartName="/ppt/theme/theme17.xml" ContentType="application/vnd.openxmlformats-officedocument.theme+xml"/>
  <Override PartName="/ppt/slideLayouts/slideLayout99.xml" ContentType="application/vnd.openxmlformats-officedocument.presentationml.slideLayout+xml"/>
  <Override PartName="/ppt/theme/theme18.xml" ContentType="application/vnd.openxmlformats-officedocument.theme+xml"/>
  <Override PartName="/ppt/slideLayouts/slideLayout100.xml" ContentType="application/vnd.openxmlformats-officedocument.presentationml.slideLayout+xml"/>
  <Override PartName="/ppt/theme/theme19.xml" ContentType="application/vnd.openxmlformats-officedocument.theme+xml"/>
  <Override PartName="/ppt/slideLayouts/slideLayout101.xml" ContentType="application/vnd.openxmlformats-officedocument.presentationml.slideLayout+xml"/>
  <Override PartName="/ppt/theme/theme20.xml" ContentType="application/vnd.openxmlformats-officedocument.theme+xml"/>
  <Override PartName="/ppt/slideLayouts/slideLayout102.xml" ContentType="application/vnd.openxmlformats-officedocument.presentationml.slideLayout+xml"/>
  <Override PartName="/ppt/theme/theme21.xml" ContentType="application/vnd.openxmlformats-officedocument.theme+xml"/>
  <Override PartName="/ppt/slideLayouts/slideLayout103.xml" ContentType="application/vnd.openxmlformats-officedocument.presentationml.slideLayout+xml"/>
  <Override PartName="/ppt/theme/theme22.xml" ContentType="application/vnd.openxmlformats-officedocument.theme+xml"/>
  <Override PartName="/ppt/theme/theme23.xml" ContentType="application/vnd.openxmlformats-officedocument.theme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24.xml" ContentType="application/vnd.openxmlformats-officedocument.theme+xml"/>
  <Override PartName="/ppt/theme/theme25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26.xml" ContentType="application/vnd.openxmlformats-officedocument.theme+xml"/>
  <Override PartName="/ppt/slideLayouts/slideLayout165.xml" ContentType="application/vnd.openxmlformats-officedocument.presentationml.slideLayout+xml"/>
  <Override PartName="/ppt/theme/theme27.xml" ContentType="application/vnd.openxmlformats-officedocument.theme+xml"/>
  <Override PartName="/ppt/slideLayouts/slideLayout166.xml" ContentType="application/vnd.openxmlformats-officedocument.presentationml.slideLayout+xml"/>
  <Override PartName="/ppt/theme/theme28.xml" ContentType="application/vnd.openxmlformats-officedocument.theme+xml"/>
  <Override PartName="/ppt/theme/theme29.xml" ContentType="application/vnd.openxmlformats-officedocument.theme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theme/theme30.xml" ContentType="application/vnd.openxmlformats-officedocument.theme+xml"/>
  <Override PartName="/ppt/theme/theme31.xml" ContentType="application/vnd.openxmlformats-officedocument.theme+xml"/>
  <Override PartName="/ppt/theme/theme3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0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8" r:id="rId1"/>
    <p:sldMasterId id="2147483816" r:id="rId2"/>
    <p:sldMasterId id="2147485193" r:id="rId3"/>
    <p:sldMasterId id="2147485209" r:id="rId4"/>
    <p:sldMasterId id="2147485229" r:id="rId5"/>
    <p:sldMasterId id="2147485231" r:id="rId6"/>
    <p:sldMasterId id="2147485257" r:id="rId7"/>
    <p:sldMasterId id="2147485327" r:id="rId8"/>
    <p:sldMasterId id="2147485335" r:id="rId9"/>
    <p:sldMasterId id="2147485343" r:id="rId10"/>
    <p:sldMasterId id="2147485354" r:id="rId11"/>
    <p:sldMasterId id="2147485372" r:id="rId12"/>
    <p:sldMasterId id="2147485442" r:id="rId13"/>
    <p:sldMasterId id="2147485642" r:id="rId14"/>
    <p:sldMasterId id="2147485660" r:id="rId15"/>
    <p:sldMasterId id="2147485665" r:id="rId16"/>
    <p:sldMasterId id="2147485667" r:id="rId17"/>
    <p:sldMasterId id="2147485670" r:id="rId18"/>
    <p:sldMasterId id="2147485673" r:id="rId19"/>
    <p:sldMasterId id="2147485676" r:id="rId20"/>
    <p:sldMasterId id="2147485679" r:id="rId21"/>
    <p:sldMasterId id="2147485682" r:id="rId22"/>
    <p:sldMasterId id="2147485691" r:id="rId23"/>
    <p:sldMasterId id="2147485693" r:id="rId24"/>
    <p:sldMasterId id="2147485759" r:id="rId25"/>
    <p:sldMasterId id="2147485775" r:id="rId26"/>
    <p:sldMasterId id="2147485839" r:id="rId27"/>
    <p:sldMasterId id="2147485843" r:id="rId28"/>
    <p:sldMasterId id="2147485846" r:id="rId29"/>
    <p:sldMasterId id="2147485848" r:id="rId30"/>
  </p:sldMasterIdLst>
  <p:notesMasterIdLst>
    <p:notesMasterId r:id="rId47"/>
  </p:notesMasterIdLst>
  <p:handoutMasterIdLst>
    <p:handoutMasterId r:id="rId48"/>
  </p:handoutMasterIdLst>
  <p:sldIdLst>
    <p:sldId id="2648" r:id="rId31"/>
    <p:sldId id="2649" r:id="rId32"/>
    <p:sldId id="2650" r:id="rId33"/>
    <p:sldId id="2322" r:id="rId34"/>
    <p:sldId id="2035" r:id="rId35"/>
    <p:sldId id="2589" r:id="rId36"/>
    <p:sldId id="2590" r:id="rId37"/>
    <p:sldId id="2039" r:id="rId38"/>
    <p:sldId id="2040" r:id="rId39"/>
    <p:sldId id="2593" r:id="rId40"/>
    <p:sldId id="2323" r:id="rId41"/>
    <p:sldId id="2591" r:id="rId42"/>
    <p:sldId id="2592" r:id="rId43"/>
    <p:sldId id="2043" r:id="rId44"/>
    <p:sldId id="2044" r:id="rId45"/>
    <p:sldId id="2585" r:id="rId46"/>
  </p:sldIdLst>
  <p:sldSz cx="12196763" cy="6858000"/>
  <p:notesSz cx="6805613" cy="9939338"/>
  <p:custDataLst>
    <p:tags r:id="rId49"/>
  </p:custDataLst>
  <p:defaultTextStyle>
    <a:defPPr>
      <a:defRPr lang="en-US"/>
    </a:defPPr>
    <a:lvl1pPr marL="0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40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78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718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957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196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435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675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913" algn="l" defTabSz="9144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74" userDrawn="1">
          <p15:clr>
            <a:srgbClr val="A4A3A4"/>
          </p15:clr>
        </p15:guide>
        <p15:guide id="2" pos="2571" userDrawn="1">
          <p15:clr>
            <a:srgbClr val="A4A3A4"/>
          </p15:clr>
        </p15:guide>
        <p15:guide id="3" orient="horz" pos="1412" userDrawn="1">
          <p15:clr>
            <a:srgbClr val="A4A3A4"/>
          </p15:clr>
        </p15:guide>
        <p15:guide id="5" pos="5338" userDrawn="1">
          <p15:clr>
            <a:srgbClr val="A4A3A4"/>
          </p15:clr>
        </p15:guide>
        <p15:guide id="6" pos="2027" userDrawn="1">
          <p15:clr>
            <a:srgbClr val="A4A3A4"/>
          </p15:clr>
        </p15:guide>
        <p15:guide id="7" orient="horz" pos="572" userDrawn="1">
          <p15:clr>
            <a:srgbClr val="A4A3A4"/>
          </p15:clr>
        </p15:guide>
        <p15:guide id="8" orient="horz" pos="2636" userDrawn="1">
          <p15:clr>
            <a:srgbClr val="A4A3A4"/>
          </p15:clr>
        </p15:guide>
        <p15:guide id="10" pos="3842" userDrawn="1">
          <p15:clr>
            <a:srgbClr val="A4A3A4"/>
          </p15:clr>
        </p15:guide>
        <p15:guide id="11" pos="665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CECEC"/>
    <a:srgbClr val="E6E6E6"/>
    <a:srgbClr val="CBCBCB"/>
    <a:srgbClr val="C7C7C7"/>
    <a:srgbClr val="C5C5C5"/>
    <a:srgbClr val="ABABAB"/>
    <a:srgbClr val="B0B0B0"/>
    <a:srgbClr val="A3A3A3"/>
    <a:srgbClr val="A1A1A1"/>
    <a:srgbClr val="BEBE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039" autoAdjust="0"/>
    <p:restoredTop sz="85730" autoAdjust="0"/>
  </p:normalViewPr>
  <p:slideViewPr>
    <p:cSldViewPr snapToGrid="0" snapToObjects="1">
      <p:cViewPr varScale="1">
        <p:scale>
          <a:sx n="55" d="100"/>
          <a:sy n="55" d="100"/>
        </p:scale>
        <p:origin x="1252" y="32"/>
      </p:cViewPr>
      <p:guideLst>
        <p:guide orient="horz" pos="1774"/>
        <p:guide pos="2571"/>
        <p:guide orient="horz" pos="1412"/>
        <p:guide pos="5338"/>
        <p:guide pos="2027"/>
        <p:guide orient="horz" pos="572"/>
        <p:guide orient="horz" pos="2636"/>
        <p:guide pos="3842"/>
        <p:guide pos="665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66" d="100"/>
        <a:sy n="66" d="100"/>
      </p:scale>
      <p:origin x="0" y="-8596"/>
    </p:cViewPr>
  </p:sorterViewPr>
  <p:notesViewPr>
    <p:cSldViewPr snapToGrid="0" snapToObjects="1">
      <p:cViewPr varScale="1">
        <p:scale>
          <a:sx n="59" d="100"/>
          <a:sy n="59" d="100"/>
        </p:scale>
        <p:origin x="2528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9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4.xml"/><Relationship Id="rId42" Type="http://schemas.openxmlformats.org/officeDocument/2006/relationships/slide" Target="slides/slide12.xml"/><Relationship Id="rId47" Type="http://schemas.openxmlformats.org/officeDocument/2006/relationships/notesMaster" Target="notesMasters/notesMaster1.xml"/><Relationship Id="rId50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Master" Target="slideMasters/slideMaster29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2.xml"/><Relationship Id="rId37" Type="http://schemas.openxmlformats.org/officeDocument/2006/relationships/slide" Target="slides/slide7.xml"/><Relationship Id="rId40" Type="http://schemas.openxmlformats.org/officeDocument/2006/relationships/slide" Target="slides/slide10.xml"/><Relationship Id="rId45" Type="http://schemas.openxmlformats.org/officeDocument/2006/relationships/slide" Target="slides/slide15.xml"/><Relationship Id="rId53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1.xml"/><Relationship Id="rId44" Type="http://schemas.openxmlformats.org/officeDocument/2006/relationships/slide" Target="slides/slide14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" Target="slides/slide5.xml"/><Relationship Id="rId43" Type="http://schemas.openxmlformats.org/officeDocument/2006/relationships/slide" Target="slides/slide13.xml"/><Relationship Id="rId48" Type="http://schemas.openxmlformats.org/officeDocument/2006/relationships/handoutMaster" Target="handoutMasters/handoutMaster1.xml"/><Relationship Id="rId8" Type="http://schemas.openxmlformats.org/officeDocument/2006/relationships/slideMaster" Target="slideMasters/slideMaster8.xml"/><Relationship Id="rId51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3.xml"/><Relationship Id="rId38" Type="http://schemas.openxmlformats.org/officeDocument/2006/relationships/slide" Target="slides/slide8.xml"/><Relationship Id="rId46" Type="http://schemas.openxmlformats.org/officeDocument/2006/relationships/slide" Target="slides/slide16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1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" Target="slides/slide6.xml"/><Relationship Id="rId4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CC198DB-AFBD-584A-8986-364FF2B03F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01315C-523F-A043-8029-B9921497126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4939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CF71B8-DF2A-2E41-BE66-2E18A767DA8A}" type="datetimeFigureOut">
              <a:rPr lang="en-US" smtClean="0"/>
              <a:t>5/13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601424-70F4-1643-8E3A-557A0258D6B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5BF48A-FF5C-8145-95A7-EE66A87C73D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4939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5F0CC5-85BE-A64A-BD47-54C66F7E93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0952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D60A27-BF12-6744-9E93-932A0E34D8BB}" type="datetimeFigureOut">
              <a:rPr lang="en-US" smtClean="0"/>
              <a:t>5/1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7326F3-4732-B74B-9C70-D0992466E4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46321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651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304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957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609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261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913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566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7219" algn="l" defTabSz="121930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326F3-4732-B74B-9C70-D0992466E499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30018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600" dirty="0">
                <a:latin typeface="Arial" pitchFamily="34" charset="0"/>
                <a:cs typeface="Arial" pitchFamily="34" charset="0"/>
              </a:rPr>
              <a:t>**********************************</a:t>
            </a:r>
            <a:r>
              <a:rPr lang="zh-CN" altLang="en-US" sz="16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*******************************</a:t>
            </a:r>
            <a:endParaRPr lang="en-US" altLang="zh-CN" sz="1600" dirty="0">
              <a:latin typeface="Arial" pitchFamily="34" charset="0"/>
              <a:cs typeface="Arial" pitchFamily="34" charset="0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326F3-4732-B74B-9C70-D0992466E499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89030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326F3-4732-B74B-9C70-D0992466E49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01660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326F3-4732-B74B-9C70-D0992466E499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57187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326F3-4732-B74B-9C70-D0992466E499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27048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**********************************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326F3-4732-B74B-9C70-D0992466E49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97914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93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326F3-4732-B74B-9C70-D0992466E499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56571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326F3-4732-B74B-9C70-D0992466E499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3687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326F3-4732-B74B-9C70-D0992466E499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34483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sz="180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**********************************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sz="1800" b="0" i="0" kern="1200" dirty="0"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326F3-4732-B74B-9C70-D0992466E499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39874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 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326F3-4732-B74B-9C70-D0992466E499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5375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326F3-4732-B74B-9C70-D0992466E499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17420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7326F3-4732-B74B-9C70-D0992466E499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99179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326F3-4732-B74B-9C70-D0992466E499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4985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Shape 177"/>
          <p:cNvSpPr>
            <a:spLocks noGrp="1" noRot="1" noChangeAspect="1"/>
          </p:cNvSpPr>
          <p:nvPr>
            <p:ph type="sldImg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78" name="Shape 178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>
            <a:lvl1pPr>
              <a:lnSpc>
                <a:spcPct val="117999"/>
              </a:lnSpc>
            </a:lvl1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600" dirty="0">
                <a:latin typeface="Arial" pitchFamily="34" charset="0"/>
                <a:cs typeface="Arial" pitchFamily="34" charset="0"/>
              </a:rPr>
              <a:t>**********************************</a:t>
            </a:r>
            <a:r>
              <a:rPr lang="zh-CN" altLang="en-US" sz="16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*******************************</a:t>
            </a:r>
            <a:endParaRPr lang="en-US" altLang="zh-CN" sz="16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3205845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93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326F3-4732-B74B-9C70-D0992466E499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8202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1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slideMaster" Target="../slideMasters/slideMaster11.xml"/><Relationship Id="rId5" Type="http://schemas.openxmlformats.org/officeDocument/2006/relationships/tags" Target="../tags/tag18.xml"/><Relationship Id="rId4" Type="http://schemas.openxmlformats.org/officeDocument/2006/relationships/tags" Target="../tags/tag1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探索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 形 6"/>
          <p:cNvSpPr/>
          <p:nvPr userDrawn="1"/>
        </p:nvSpPr>
        <p:spPr>
          <a:xfrm rot="5400000">
            <a:off x="7853942" y="2130562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227DEE9-8BE9-0D49-BF96-9E83C5312E0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  <a:ln>
            <a:noFill/>
            <a:prstDash val="dash"/>
          </a:ln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F43DA98-D48D-6947-95EF-BA3B05E688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1949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1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2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391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042638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53242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620147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148021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238128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31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62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6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A8B3F0C-616F-224A-B32F-9F9BF5EEE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26022" y="1512877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79316" marR="0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7605" algn="ctr"/>
              </a:tabLst>
              <a:defRPr sz="17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328894" marR="0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7605" algn="ctr"/>
              </a:tabLst>
              <a:defRPr sz="1599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1098136" marR="0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207605" algn="ctr"/>
              </a:tabLst>
              <a:defRPr sz="1298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4pPr>
            <a:lvl5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  <a:p>
            <a:pPr marL="328894" marR="0" lvl="1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605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136" marR="0" lvl="2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605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136" marR="0" lvl="2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605" algn="ctr"/>
              </a:tabLst>
              <a:defRPr/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2733131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3205953"/>
      </p:ext>
    </p:extLst>
  </p:cSld>
  <p:clrMapOvr>
    <a:masterClrMapping/>
  </p:clrMapOvr>
  <p:transition spd="med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09631" y="468677"/>
            <a:ext cx="11377506" cy="10422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09682" y="1599829"/>
            <a:ext cx="10977404" cy="45265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799385015"/>
      </p:ext>
    </p:extLst>
  </p:cSld>
  <p:clrMapOvr>
    <a:masterClrMapping/>
  </p:clrMapOvr>
  <p:transition spd="med" advClick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2399" baseline="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93662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6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en-US" altLang="zh-CN" dirty="0"/>
              <a:t>Ar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78981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81066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4340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49" y="289517"/>
            <a:ext cx="11660392" cy="89966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472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9837961"/>
      </p:ext>
    </p:extLst>
  </p:cSld>
  <p:clrMapOvr>
    <a:masterClrMapping/>
  </p:clrMapOvr>
  <p:transition advClick="0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20363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8348801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6"/>
            <a:ext cx="11467588" cy="49759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8"/>
              </a:lnSpc>
              <a:spcBef>
                <a:spcPts val="0"/>
              </a:spcBef>
              <a:buNone/>
              <a:defRPr sz="27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425" indent="0" algn="ctr">
              <a:buNone/>
              <a:defRPr sz="2596"/>
            </a:lvl2pPr>
            <a:lvl3pPr marL="1186848" indent="0" algn="ctr">
              <a:buNone/>
              <a:defRPr sz="2336"/>
            </a:lvl3pPr>
            <a:lvl4pPr marL="1780274" indent="0" algn="ctr">
              <a:buNone/>
              <a:defRPr sz="2077"/>
            </a:lvl4pPr>
            <a:lvl5pPr marL="2373698" indent="0" algn="ctr">
              <a:buNone/>
              <a:defRPr sz="2077"/>
            </a:lvl5pPr>
            <a:lvl6pPr marL="2967122" indent="0" algn="ctr">
              <a:buNone/>
              <a:defRPr sz="2077"/>
            </a:lvl6pPr>
            <a:lvl7pPr marL="3560546" indent="0" algn="ctr">
              <a:buNone/>
              <a:defRPr sz="2077"/>
            </a:lvl7pPr>
            <a:lvl8pPr marL="4153972" indent="0" algn="ctr">
              <a:buNone/>
              <a:defRPr sz="2077"/>
            </a:lvl8pPr>
            <a:lvl9pPr marL="4747395" indent="0" algn="ctr">
              <a:buNone/>
              <a:defRPr sz="2077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44468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3199" baseline="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93662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6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26024" y="1501989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2368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7937" algn="ctr"/>
              </a:tabLst>
              <a:defRPr sz="1799" baseline="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2pPr>
            <a:lvl3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3pPr>
            <a:lvl4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4pPr>
            <a:lvl5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6356762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4562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717410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8"/>
              </a:lnSpc>
              <a:spcBef>
                <a:spcPts val="0"/>
              </a:spcBef>
              <a:buNone/>
              <a:defRPr sz="2798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485" indent="0" algn="ctr">
              <a:buNone/>
              <a:defRPr sz="2596"/>
            </a:lvl2pPr>
            <a:lvl3pPr marL="1186966" indent="0" algn="ctr">
              <a:buNone/>
              <a:defRPr sz="2337"/>
            </a:lvl3pPr>
            <a:lvl4pPr marL="1780453" indent="0" algn="ctr">
              <a:buNone/>
              <a:defRPr sz="2078"/>
            </a:lvl4pPr>
            <a:lvl5pPr marL="2373935" indent="0" algn="ctr">
              <a:buNone/>
              <a:defRPr sz="2078"/>
            </a:lvl5pPr>
            <a:lvl6pPr marL="2967419" indent="0" algn="ctr">
              <a:buNone/>
              <a:defRPr sz="2078"/>
            </a:lvl6pPr>
            <a:lvl7pPr marL="3560902" indent="0" algn="ctr">
              <a:buNone/>
              <a:defRPr sz="2078"/>
            </a:lvl7pPr>
            <a:lvl8pPr marL="4154388" indent="0" algn="ctr">
              <a:buNone/>
              <a:defRPr sz="2078"/>
            </a:lvl8pPr>
            <a:lvl9pPr marL="4747870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32036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3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TextBox 2"/>
          <p:cNvSpPr txBox="1"/>
          <p:nvPr/>
        </p:nvSpPr>
        <p:spPr>
          <a:xfrm>
            <a:off x="1141633" y="6356940"/>
            <a:ext cx="1372565" cy="230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01" rIns="45701">
            <a:spAutoFit/>
          </a:bodyPr>
          <a:lstStyle>
            <a:lvl1pPr>
              <a:defRPr sz="900">
                <a:solidFill>
                  <a:srgbClr val="1D1D1B"/>
                </a:solidFill>
              </a:defRPr>
            </a:lvl1pPr>
          </a:lstStyle>
          <a:p>
            <a:pPr defTabSz="914111" hangingPunct="0"/>
            <a:r>
              <a:rPr sz="900" kern="0">
                <a:cs typeface="Arial"/>
                <a:sym typeface="Arial"/>
              </a:rPr>
              <a:t>Huawei Confidential</a:t>
            </a:r>
          </a:p>
        </p:txBody>
      </p:sp>
      <p:sp>
        <p:nvSpPr>
          <p:cNvPr id="145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734419" y="6402807"/>
            <a:ext cx="173192" cy="138500"/>
          </a:xfrm>
          <a:prstGeom prst="rect">
            <a:avLst/>
          </a:prstGeom>
        </p:spPr>
        <p:txBody>
          <a:bodyPr lIns="0" tIns="0" rIns="0" bIns="0" anchor="t"/>
          <a:lstStyle>
            <a:lvl1pPr algn="l" defTabSz="890493">
              <a:defRPr sz="900">
                <a:solidFill>
                  <a:srgbClr val="1D1D1B"/>
                </a:solidFill>
              </a:defRPr>
            </a:lvl1pPr>
          </a:lstStyle>
          <a:p>
            <a:pPr hangingPunct="0"/>
            <a:fld id="{86CB4B4D-7CA3-9044-876B-883B54F8677D}" type="slidenum">
              <a:rPr kern="0">
                <a:latin typeface="Helvetica Neue Medium"/>
                <a:sym typeface="Helvetica Neue Medium"/>
              </a:rPr>
              <a:pPr hangingPunct="0"/>
              <a:t>‹#›</a:t>
            </a:fld>
            <a:endParaRPr kern="0">
              <a:latin typeface="Helvetica Neue Medium"/>
              <a:sym typeface="Helvetica Neue Medium"/>
            </a:endParaRPr>
          </a:p>
        </p:txBody>
      </p:sp>
      <p:grpSp>
        <p:nvGrpSpPr>
          <p:cNvPr id="198" name="组合 24"/>
          <p:cNvGrpSpPr/>
          <p:nvPr/>
        </p:nvGrpSpPr>
        <p:grpSpPr>
          <a:xfrm>
            <a:off x="12221050" y="2931937"/>
            <a:ext cx="1983695" cy="3934686"/>
            <a:chOff x="0" y="-1"/>
            <a:chExt cx="1982919" cy="3934685"/>
          </a:xfrm>
        </p:grpSpPr>
        <p:grpSp>
          <p:nvGrpSpPr>
            <p:cNvPr id="153" name="组合 25"/>
            <p:cNvGrpSpPr/>
            <p:nvPr/>
          </p:nvGrpSpPr>
          <p:grpSpPr>
            <a:xfrm>
              <a:off x="99355" y="-1"/>
              <a:ext cx="1883564" cy="591917"/>
              <a:chOff x="-1" y="-1"/>
              <a:chExt cx="1883562" cy="591916"/>
            </a:xfrm>
          </p:grpSpPr>
          <p:grpSp>
            <p:nvGrpSpPr>
              <p:cNvPr id="148" name="矩形 5"/>
              <p:cNvGrpSpPr/>
              <p:nvPr/>
            </p:nvGrpSpPr>
            <p:grpSpPr>
              <a:xfrm>
                <a:off x="-1" y="165957"/>
                <a:ext cx="911022" cy="425958"/>
                <a:chOff x="-1" y="-1"/>
                <a:chExt cx="911021" cy="425957"/>
              </a:xfrm>
            </p:grpSpPr>
            <p:sp>
              <p:nvSpPr>
                <p:cNvPr id="146" name="矩形"/>
                <p:cNvSpPr/>
                <p:nvPr/>
              </p:nvSpPr>
              <p:spPr>
                <a:xfrm>
                  <a:off x="-1" y="-1"/>
                  <a:ext cx="911021" cy="425957"/>
                </a:xfrm>
                <a:prstGeom prst="rect">
                  <a:avLst/>
                </a:prstGeom>
                <a:solidFill>
                  <a:srgbClr val="C8102E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 defTabSz="914111" hangingPunct="0">
                    <a:defRPr>
                      <a:solidFill>
                        <a:srgbClr val="666666"/>
                      </a:solidFill>
                    </a:defRPr>
                  </a:pPr>
                  <a:endParaRPr sz="1799" kern="0">
                    <a:solidFill>
                      <a:srgbClr val="666666"/>
                    </a:solidFill>
                    <a:cs typeface="Arial"/>
                    <a:sym typeface="Arial"/>
                  </a:endParaRPr>
                </a:p>
              </p:txBody>
            </p:sp>
            <p:sp>
              <p:nvSpPr>
                <p:cNvPr id="147" name="PANTONE 186C…"/>
                <p:cNvSpPr txBox="1"/>
                <p:nvPr/>
              </p:nvSpPr>
              <p:spPr>
                <a:xfrm>
                  <a:off x="-1" y="105258"/>
                  <a:ext cx="911021" cy="215443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wrap="square" lIns="0" tIns="0" rIns="0" bIns="0" numCol="1" anchor="ctr">
                  <a:spAutoFit/>
                </a:bodyPr>
                <a:lstStyle/>
                <a:p>
                  <a:pPr algn="ctr" defTabSz="914111" hangingPunct="0">
                    <a:defRPr sz="700" b="1">
                      <a:solidFill>
                        <a:srgbClr val="FFFFFF"/>
                      </a:solidFill>
                    </a:defRPr>
                  </a:pPr>
                  <a:r>
                    <a:rPr sz="700" b="1" kern="0">
                      <a:solidFill>
                        <a:srgbClr val="FFFFFF"/>
                      </a:solidFill>
                      <a:cs typeface="Arial"/>
                      <a:sym typeface="Arial"/>
                    </a:rPr>
                    <a:t>PANTONE 186C</a:t>
                  </a:r>
                  <a:endParaRPr sz="700" b="1" kern="0">
                    <a:solidFill>
                      <a:srgbClr val="666666"/>
                    </a:solidFill>
                    <a:cs typeface="Arial"/>
                    <a:sym typeface="Arial"/>
                  </a:endParaRPr>
                </a:p>
                <a:p>
                  <a:pPr algn="ctr" defTabSz="914111" hangingPunct="0">
                    <a:defRPr sz="700" b="1">
                      <a:solidFill>
                        <a:srgbClr val="FFFFFF"/>
                      </a:solidFill>
                    </a:defRPr>
                  </a:pPr>
                  <a:r>
                    <a:rPr sz="700" b="1" kern="0">
                      <a:solidFill>
                        <a:srgbClr val="FFFFFF"/>
                      </a:solidFill>
                      <a:cs typeface="Arial"/>
                      <a:sym typeface="Arial"/>
                    </a:rPr>
                    <a:t>RGB 200/16/46</a:t>
                  </a:r>
                </a:p>
              </p:txBody>
            </p:sp>
          </p:grpSp>
          <p:grpSp>
            <p:nvGrpSpPr>
              <p:cNvPr id="151" name="矩形 9"/>
              <p:cNvGrpSpPr/>
              <p:nvPr/>
            </p:nvGrpSpPr>
            <p:grpSpPr>
              <a:xfrm>
                <a:off x="972539" y="165957"/>
                <a:ext cx="911022" cy="425958"/>
                <a:chOff x="-1" y="-1"/>
                <a:chExt cx="911021" cy="425957"/>
              </a:xfrm>
            </p:grpSpPr>
            <p:sp>
              <p:nvSpPr>
                <p:cNvPr id="149" name="矩形"/>
                <p:cNvSpPr/>
                <p:nvPr/>
              </p:nvSpPr>
              <p:spPr>
                <a:xfrm>
                  <a:off x="-1" y="-1"/>
                  <a:ext cx="911021" cy="425957"/>
                </a:xfrm>
                <a:prstGeom prst="rect">
                  <a:avLst/>
                </a:prstGeom>
                <a:solidFill>
                  <a:srgbClr val="C7000B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 defTabSz="914111" hangingPunct="0">
                    <a:defRPr>
                      <a:solidFill>
                        <a:srgbClr val="666666"/>
                      </a:solidFill>
                    </a:defRPr>
                  </a:pPr>
                  <a:endParaRPr sz="1799" kern="0">
                    <a:solidFill>
                      <a:srgbClr val="666666"/>
                    </a:solidFill>
                    <a:cs typeface="Arial"/>
                    <a:sym typeface="Arial"/>
                  </a:endParaRPr>
                </a:p>
              </p:txBody>
            </p:sp>
            <p:sp>
              <p:nvSpPr>
                <p:cNvPr id="150" name="PANTONE 185C…"/>
                <p:cNvSpPr txBox="1"/>
                <p:nvPr/>
              </p:nvSpPr>
              <p:spPr>
                <a:xfrm>
                  <a:off x="-1" y="105258"/>
                  <a:ext cx="911021" cy="215443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wrap="square" lIns="0" tIns="0" rIns="0" bIns="0" numCol="1" anchor="ctr">
                  <a:spAutoFit/>
                </a:bodyPr>
                <a:lstStyle/>
                <a:p>
                  <a:pPr algn="ctr" defTabSz="914111" hangingPunct="0">
                    <a:defRPr sz="700" b="1">
                      <a:solidFill>
                        <a:srgbClr val="FFFFFF"/>
                      </a:solidFill>
                    </a:defRPr>
                  </a:pPr>
                  <a:r>
                    <a:rPr sz="700" b="1" kern="0">
                      <a:solidFill>
                        <a:srgbClr val="FFFFFF"/>
                      </a:solidFill>
                      <a:cs typeface="Arial"/>
                      <a:sym typeface="Arial"/>
                    </a:rPr>
                    <a:t>PANTONE 185C</a:t>
                  </a:r>
                  <a:endParaRPr sz="700" b="1" kern="0">
                    <a:solidFill>
                      <a:srgbClr val="666666"/>
                    </a:solidFill>
                    <a:cs typeface="Arial"/>
                    <a:sym typeface="Arial"/>
                  </a:endParaRPr>
                </a:p>
                <a:p>
                  <a:pPr algn="ctr" defTabSz="914111" hangingPunct="0">
                    <a:defRPr sz="700" b="1">
                      <a:solidFill>
                        <a:srgbClr val="FFFFFF"/>
                      </a:solidFill>
                    </a:defRPr>
                  </a:pPr>
                  <a:r>
                    <a:rPr sz="700" b="1" kern="0">
                      <a:solidFill>
                        <a:srgbClr val="FFFFFF"/>
                      </a:solidFill>
                      <a:cs typeface="Arial"/>
                      <a:sym typeface="Arial"/>
                    </a:rPr>
                    <a:t>RGB 199/0/11</a:t>
                  </a:r>
                </a:p>
              </p:txBody>
            </p:sp>
          </p:grpSp>
          <p:sp>
            <p:nvSpPr>
              <p:cNvPr id="152" name="文本框 31"/>
              <p:cNvSpPr txBox="1"/>
              <p:nvPr/>
            </p:nvSpPr>
            <p:spPr>
              <a:xfrm>
                <a:off x="11339" y="-1"/>
                <a:ext cx="384571" cy="15388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0" tIns="0" rIns="0" bIns="0" numCol="1" anchor="t">
                <a:spAutoFit/>
              </a:bodyPr>
              <a:lstStyle>
                <a:lvl1pPr algn="ctr">
                  <a:defRPr sz="1000">
                    <a:latin typeface="微软雅黑"/>
                    <a:ea typeface="微软雅黑"/>
                    <a:cs typeface="微软雅黑"/>
                    <a:sym typeface="微软雅黑"/>
                  </a:defRPr>
                </a:lvl1pPr>
              </a:lstStyle>
              <a:p>
                <a:pPr defTabSz="914111" hangingPunct="0">
                  <a:defRPr>
                    <a:latin typeface="Microsoft YaHei"/>
                    <a:ea typeface="Microsoft YaHei"/>
                    <a:cs typeface="Microsoft YaHei"/>
                    <a:sym typeface="Microsoft YaHei"/>
                  </a:defRPr>
                </a:pPr>
                <a:r>
                  <a:rPr sz="1000" kern="0">
                    <a:solidFill>
                      <a:srgbClr val="1D1D1A"/>
                    </a:solidFill>
                    <a:latin typeface="Microsoft YaHei"/>
                    <a:ea typeface="Microsoft YaHei"/>
                    <a:cs typeface="Microsoft YaHei"/>
                    <a:sym typeface="Microsoft YaHei"/>
                  </a:rPr>
                  <a:t>品牌色</a:t>
                </a:r>
              </a:p>
            </p:txBody>
          </p:sp>
        </p:grpSp>
        <p:grpSp>
          <p:nvGrpSpPr>
            <p:cNvPr id="197" name="组合 26"/>
            <p:cNvGrpSpPr/>
            <p:nvPr/>
          </p:nvGrpSpPr>
          <p:grpSpPr>
            <a:xfrm>
              <a:off x="0" y="676980"/>
              <a:ext cx="1982914" cy="3257704"/>
              <a:chOff x="0" y="23912"/>
              <a:chExt cx="1982914" cy="3257702"/>
            </a:xfrm>
          </p:grpSpPr>
          <p:grpSp>
            <p:nvGrpSpPr>
              <p:cNvPr id="156" name="矩形 12"/>
              <p:cNvGrpSpPr/>
              <p:nvPr/>
            </p:nvGrpSpPr>
            <p:grpSpPr>
              <a:xfrm>
                <a:off x="99360" y="648901"/>
                <a:ext cx="885205" cy="395400"/>
                <a:chOff x="-1" y="-1"/>
                <a:chExt cx="885203" cy="395399"/>
              </a:xfrm>
            </p:grpSpPr>
            <p:sp>
              <p:nvSpPr>
                <p:cNvPr id="154" name="矩形"/>
                <p:cNvSpPr/>
                <p:nvPr/>
              </p:nvSpPr>
              <p:spPr>
                <a:xfrm>
                  <a:off x="-1" y="-1"/>
                  <a:ext cx="885203" cy="395399"/>
                </a:xfrm>
                <a:prstGeom prst="rect">
                  <a:avLst/>
                </a:prstGeom>
                <a:solidFill>
                  <a:srgbClr val="EA5A4F"/>
                </a:solidFill>
                <a:ln w="12700" cap="flat">
                  <a:solidFill>
                    <a:srgbClr val="EA5A4F"/>
                  </a:solidFill>
                  <a:prstDash val="solid"/>
                  <a:miter lim="8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 defTabSz="914111" hangingPunct="0">
                    <a:defRPr sz="700" b="1">
                      <a:solidFill>
                        <a:srgbClr val="FFFFFF"/>
                      </a:solidFill>
                    </a:defRPr>
                  </a:pPr>
                  <a:endParaRPr sz="700" b="1" kern="0">
                    <a:solidFill>
                      <a:srgbClr val="FFFFFF"/>
                    </a:solidFill>
                    <a:cs typeface="Arial"/>
                    <a:sym typeface="Arial"/>
                  </a:endParaRPr>
                </a:p>
              </p:txBody>
            </p:sp>
            <p:sp>
              <p:nvSpPr>
                <p:cNvPr id="155" name="RGB 234/90/79"/>
                <p:cNvSpPr txBox="1"/>
                <p:nvPr/>
              </p:nvSpPr>
              <p:spPr>
                <a:xfrm>
                  <a:off x="-1" y="143837"/>
                  <a:ext cx="885203" cy="107722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wrap="square" lIns="0" tIns="0" rIns="0" bIns="0" numCol="1" anchor="ctr">
                  <a:spAutoFit/>
                </a:bodyPr>
                <a:lstStyle/>
                <a:p>
                  <a:pPr algn="ctr" defTabSz="914111" hangingPunct="0">
                    <a:defRPr sz="700" b="1">
                      <a:solidFill>
                        <a:srgbClr val="FFFFFF"/>
                      </a:solidFill>
                    </a:defRPr>
                  </a:pPr>
                  <a:r>
                    <a:rPr sz="700" b="1" kern="0">
                      <a:solidFill>
                        <a:srgbClr val="FFFFFF"/>
                      </a:solidFill>
                      <a:cs typeface="Arial"/>
                      <a:sym typeface="Arial"/>
                    </a:rPr>
                    <a:t>RGB 234/90/79</a:t>
                  </a:r>
                </a:p>
              </p:txBody>
            </p:sp>
          </p:grpSp>
          <p:grpSp>
            <p:nvGrpSpPr>
              <p:cNvPr id="159" name="矩形 13"/>
              <p:cNvGrpSpPr/>
              <p:nvPr/>
            </p:nvGrpSpPr>
            <p:grpSpPr>
              <a:xfrm>
                <a:off x="99360" y="198821"/>
                <a:ext cx="885205" cy="395400"/>
                <a:chOff x="-1" y="-1"/>
                <a:chExt cx="885203" cy="395399"/>
              </a:xfrm>
            </p:grpSpPr>
            <p:sp>
              <p:nvSpPr>
                <p:cNvPr id="157" name="矩形"/>
                <p:cNvSpPr/>
                <p:nvPr/>
              </p:nvSpPr>
              <p:spPr>
                <a:xfrm>
                  <a:off x="-1" y="-1"/>
                  <a:ext cx="885203" cy="395399"/>
                </a:xfrm>
                <a:prstGeom prst="rect">
                  <a:avLst/>
                </a:prstGeom>
                <a:solidFill>
                  <a:srgbClr val="78000F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 defTabSz="914111" hangingPunct="0">
                    <a:defRPr sz="700" b="1">
                      <a:solidFill>
                        <a:srgbClr val="FFFFFF"/>
                      </a:solidFill>
                    </a:defRPr>
                  </a:pPr>
                  <a:endParaRPr sz="700" b="1" kern="0">
                    <a:solidFill>
                      <a:srgbClr val="FFFFFF"/>
                    </a:solidFill>
                    <a:cs typeface="Arial"/>
                    <a:sym typeface="Arial"/>
                  </a:endParaRPr>
                </a:p>
              </p:txBody>
            </p:sp>
            <p:sp>
              <p:nvSpPr>
                <p:cNvPr id="158" name="RGB 120/0/15"/>
                <p:cNvSpPr txBox="1"/>
                <p:nvPr/>
              </p:nvSpPr>
              <p:spPr>
                <a:xfrm>
                  <a:off x="-1" y="143837"/>
                  <a:ext cx="885203" cy="107722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wrap="square" lIns="0" tIns="0" rIns="0" bIns="0" numCol="1" anchor="ctr">
                  <a:spAutoFit/>
                </a:bodyPr>
                <a:lstStyle/>
                <a:p>
                  <a:pPr algn="ctr" defTabSz="914111" hangingPunct="0">
                    <a:defRPr sz="700" b="1">
                      <a:solidFill>
                        <a:srgbClr val="FFFFFF"/>
                      </a:solidFill>
                    </a:defRPr>
                  </a:pPr>
                  <a:r>
                    <a:rPr sz="700" b="1" kern="0">
                      <a:solidFill>
                        <a:srgbClr val="FFFFFF"/>
                      </a:solidFill>
                      <a:cs typeface="Arial"/>
                      <a:sym typeface="Arial"/>
                    </a:rPr>
                    <a:t>RGB 120/0/15</a:t>
                  </a:r>
                </a:p>
              </p:txBody>
            </p:sp>
          </p:grpSp>
          <p:sp>
            <p:nvSpPr>
              <p:cNvPr id="160" name="文本框 15"/>
              <p:cNvSpPr txBox="1"/>
              <p:nvPr/>
            </p:nvSpPr>
            <p:spPr>
              <a:xfrm>
                <a:off x="0" y="23912"/>
                <a:ext cx="569387" cy="15388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b">
                <a:spAutoFit/>
              </a:bodyPr>
              <a:lstStyle>
                <a:lvl1pPr algn="ctr">
                  <a:defRPr sz="1000">
                    <a:latin typeface="微软雅黑"/>
                    <a:ea typeface="微软雅黑"/>
                    <a:cs typeface="微软雅黑"/>
                    <a:sym typeface="微软雅黑"/>
                  </a:defRPr>
                </a:lvl1pPr>
              </a:lstStyle>
              <a:p>
                <a:pPr defTabSz="914111" hangingPunct="0">
                  <a:defRPr>
                    <a:latin typeface="Microsoft YaHei"/>
                    <a:ea typeface="Microsoft YaHei"/>
                    <a:cs typeface="Microsoft YaHei"/>
                    <a:sym typeface="Microsoft YaHei"/>
                  </a:defRPr>
                </a:pPr>
                <a:r>
                  <a:rPr sz="1000" kern="0">
                    <a:solidFill>
                      <a:srgbClr val="1D1D1A"/>
                    </a:solidFill>
                    <a:latin typeface="Microsoft YaHei"/>
                    <a:ea typeface="Microsoft YaHei"/>
                    <a:cs typeface="Microsoft YaHei"/>
                    <a:sym typeface="Microsoft YaHei"/>
                  </a:rPr>
                  <a:t>辅助色</a:t>
                </a:r>
              </a:p>
            </p:txBody>
          </p:sp>
          <p:grpSp>
            <p:nvGrpSpPr>
              <p:cNvPr id="163" name="矩形 16"/>
              <p:cNvGrpSpPr/>
              <p:nvPr/>
            </p:nvGrpSpPr>
            <p:grpSpPr>
              <a:xfrm>
                <a:off x="99360" y="1546930"/>
                <a:ext cx="885205" cy="395400"/>
                <a:chOff x="-1" y="-1"/>
                <a:chExt cx="885203" cy="395399"/>
              </a:xfrm>
            </p:grpSpPr>
            <p:sp>
              <p:nvSpPr>
                <p:cNvPr id="161" name="矩形"/>
                <p:cNvSpPr/>
                <p:nvPr/>
              </p:nvSpPr>
              <p:spPr>
                <a:xfrm>
                  <a:off x="-1" y="-1"/>
                  <a:ext cx="885203" cy="395399"/>
                </a:xfrm>
                <a:prstGeom prst="rect">
                  <a:avLst/>
                </a:prstGeom>
                <a:solidFill>
                  <a:srgbClr val="F8B53C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 defTabSz="914111" hangingPunct="0">
                    <a:defRPr sz="700" b="1">
                      <a:solidFill>
                        <a:srgbClr val="FFFFFF"/>
                      </a:solidFill>
                    </a:defRPr>
                  </a:pPr>
                  <a:endParaRPr sz="700" b="1" kern="0">
                    <a:solidFill>
                      <a:srgbClr val="FFFFFF"/>
                    </a:solidFill>
                    <a:cs typeface="Arial"/>
                    <a:sym typeface="Arial"/>
                  </a:endParaRPr>
                </a:p>
              </p:txBody>
            </p:sp>
            <p:sp>
              <p:nvSpPr>
                <p:cNvPr id="162" name="RGB 248/181/60"/>
                <p:cNvSpPr txBox="1"/>
                <p:nvPr/>
              </p:nvSpPr>
              <p:spPr>
                <a:xfrm>
                  <a:off x="-1" y="143836"/>
                  <a:ext cx="885203" cy="107722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wrap="square" lIns="0" tIns="0" rIns="0" bIns="0" numCol="1" anchor="ctr">
                  <a:spAutoFit/>
                </a:bodyPr>
                <a:lstStyle/>
                <a:p>
                  <a:pPr algn="ctr" defTabSz="914111" hangingPunct="0">
                    <a:defRPr sz="700" b="1">
                      <a:solidFill>
                        <a:srgbClr val="FFFFFF"/>
                      </a:solidFill>
                    </a:defRPr>
                  </a:pPr>
                  <a:r>
                    <a:rPr sz="700" b="1" kern="0">
                      <a:solidFill>
                        <a:srgbClr val="FFFFFF"/>
                      </a:solidFill>
                      <a:cs typeface="Arial"/>
                      <a:sym typeface="Arial"/>
                    </a:rPr>
                    <a:t>RGB 248/181/60</a:t>
                  </a:r>
                </a:p>
              </p:txBody>
            </p:sp>
          </p:grpSp>
          <p:grpSp>
            <p:nvGrpSpPr>
              <p:cNvPr id="166" name="矩形 17"/>
              <p:cNvGrpSpPr/>
              <p:nvPr/>
            </p:nvGrpSpPr>
            <p:grpSpPr>
              <a:xfrm>
                <a:off x="99360" y="1104663"/>
                <a:ext cx="885205" cy="395400"/>
                <a:chOff x="-1" y="-1"/>
                <a:chExt cx="885203" cy="395399"/>
              </a:xfrm>
            </p:grpSpPr>
            <p:sp>
              <p:nvSpPr>
                <p:cNvPr id="164" name="矩形"/>
                <p:cNvSpPr/>
                <p:nvPr/>
              </p:nvSpPr>
              <p:spPr>
                <a:xfrm>
                  <a:off x="-1" y="-1"/>
                  <a:ext cx="885203" cy="395399"/>
                </a:xfrm>
                <a:prstGeom prst="rect">
                  <a:avLst/>
                </a:prstGeom>
                <a:solidFill>
                  <a:srgbClr val="EB5C01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 defTabSz="914111" hangingPunct="0">
                    <a:defRPr sz="700" b="1">
                      <a:solidFill>
                        <a:srgbClr val="FFFFFF"/>
                      </a:solidFill>
                    </a:defRPr>
                  </a:pPr>
                  <a:endParaRPr sz="700" b="1" kern="0">
                    <a:solidFill>
                      <a:srgbClr val="FFFFFF"/>
                    </a:solidFill>
                    <a:cs typeface="Arial"/>
                    <a:sym typeface="Arial"/>
                  </a:endParaRPr>
                </a:p>
              </p:txBody>
            </p:sp>
            <p:sp>
              <p:nvSpPr>
                <p:cNvPr id="165" name="RGB 235/92/1"/>
                <p:cNvSpPr txBox="1"/>
                <p:nvPr/>
              </p:nvSpPr>
              <p:spPr>
                <a:xfrm>
                  <a:off x="-1" y="143837"/>
                  <a:ext cx="885203" cy="107722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wrap="square" lIns="0" tIns="0" rIns="0" bIns="0" numCol="1" anchor="ctr">
                  <a:spAutoFit/>
                </a:bodyPr>
                <a:lstStyle/>
                <a:p>
                  <a:pPr algn="ctr" defTabSz="914111" hangingPunct="0">
                    <a:defRPr sz="700" b="1">
                      <a:solidFill>
                        <a:srgbClr val="FFFFFF"/>
                      </a:solidFill>
                    </a:defRPr>
                  </a:pPr>
                  <a:r>
                    <a:rPr sz="700" b="1" kern="0">
                      <a:solidFill>
                        <a:srgbClr val="FFFFFF"/>
                      </a:solidFill>
                      <a:cs typeface="Arial"/>
                      <a:sym typeface="Arial"/>
                    </a:rPr>
                    <a:t>RGB 235/92/1</a:t>
                  </a:r>
                </a:p>
              </p:txBody>
            </p:sp>
          </p:grpSp>
          <p:grpSp>
            <p:nvGrpSpPr>
              <p:cNvPr id="169" name="矩形 18"/>
              <p:cNvGrpSpPr/>
              <p:nvPr/>
            </p:nvGrpSpPr>
            <p:grpSpPr>
              <a:xfrm>
                <a:off x="99356" y="2438701"/>
                <a:ext cx="911023" cy="395400"/>
                <a:chOff x="-1" y="-1"/>
                <a:chExt cx="911021" cy="395399"/>
              </a:xfrm>
            </p:grpSpPr>
            <p:sp>
              <p:nvSpPr>
                <p:cNvPr id="167" name="矩形"/>
                <p:cNvSpPr/>
                <p:nvPr/>
              </p:nvSpPr>
              <p:spPr>
                <a:xfrm>
                  <a:off x="-1" y="-1"/>
                  <a:ext cx="911021" cy="395399"/>
                </a:xfrm>
                <a:prstGeom prst="rect">
                  <a:avLst/>
                </a:prstGeom>
                <a:solidFill>
                  <a:srgbClr val="898989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 defTabSz="914111" hangingPunct="0">
                    <a:defRPr sz="700" b="1">
                      <a:solidFill>
                        <a:srgbClr val="FFFFFF"/>
                      </a:solidFill>
                    </a:defRPr>
                  </a:pPr>
                  <a:endParaRPr sz="700" b="1" kern="0">
                    <a:solidFill>
                      <a:srgbClr val="FFFFFF"/>
                    </a:solidFill>
                    <a:cs typeface="Arial"/>
                    <a:sym typeface="Arial"/>
                  </a:endParaRPr>
                </a:p>
              </p:txBody>
            </p:sp>
            <p:sp>
              <p:nvSpPr>
                <p:cNvPr id="168" name="RGB 137/137/137"/>
                <p:cNvSpPr txBox="1"/>
                <p:nvPr/>
              </p:nvSpPr>
              <p:spPr>
                <a:xfrm>
                  <a:off x="-1" y="143836"/>
                  <a:ext cx="911021" cy="107722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wrap="square" lIns="0" tIns="0" rIns="0" bIns="0" numCol="1" anchor="ctr">
                  <a:spAutoFit/>
                </a:bodyPr>
                <a:lstStyle/>
                <a:p>
                  <a:pPr algn="ctr" defTabSz="914111" hangingPunct="0">
                    <a:defRPr sz="700" b="1">
                      <a:solidFill>
                        <a:srgbClr val="FFFFFF"/>
                      </a:solidFill>
                    </a:defRPr>
                  </a:pPr>
                  <a:r>
                    <a:rPr sz="700" b="1" kern="0">
                      <a:solidFill>
                        <a:srgbClr val="FFFFFF"/>
                      </a:solidFill>
                      <a:cs typeface="Arial"/>
                      <a:sym typeface="Arial"/>
                    </a:rPr>
                    <a:t>RGB 137/137/137</a:t>
                  </a:r>
                </a:p>
              </p:txBody>
            </p:sp>
          </p:grpSp>
          <p:grpSp>
            <p:nvGrpSpPr>
              <p:cNvPr id="172" name="矩形 19"/>
              <p:cNvGrpSpPr/>
              <p:nvPr/>
            </p:nvGrpSpPr>
            <p:grpSpPr>
              <a:xfrm>
                <a:off x="99356" y="1996435"/>
                <a:ext cx="911023" cy="395400"/>
                <a:chOff x="-1" y="-1"/>
                <a:chExt cx="911021" cy="395399"/>
              </a:xfrm>
            </p:grpSpPr>
            <p:sp>
              <p:nvSpPr>
                <p:cNvPr id="170" name="矩形"/>
                <p:cNvSpPr/>
                <p:nvPr/>
              </p:nvSpPr>
              <p:spPr>
                <a:xfrm>
                  <a:off x="-1" y="-1"/>
                  <a:ext cx="911021" cy="395399"/>
                </a:xfrm>
                <a:prstGeom prst="rect">
                  <a:avLst/>
                </a:prstGeom>
                <a:solidFill>
                  <a:srgbClr val="231815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 defTabSz="914111" hangingPunct="0">
                    <a:defRPr sz="700" b="1">
                      <a:solidFill>
                        <a:srgbClr val="FFFFFF"/>
                      </a:solidFill>
                    </a:defRPr>
                  </a:pPr>
                  <a:endParaRPr sz="700" b="1" kern="0">
                    <a:solidFill>
                      <a:srgbClr val="FFFFFF"/>
                    </a:solidFill>
                    <a:cs typeface="Arial"/>
                    <a:sym typeface="Arial"/>
                  </a:endParaRPr>
                </a:p>
              </p:txBody>
            </p:sp>
            <p:sp>
              <p:nvSpPr>
                <p:cNvPr id="171" name="RGB 35/24/21"/>
                <p:cNvSpPr txBox="1"/>
                <p:nvPr/>
              </p:nvSpPr>
              <p:spPr>
                <a:xfrm>
                  <a:off x="-1" y="143837"/>
                  <a:ext cx="911021" cy="107722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wrap="square" lIns="0" tIns="0" rIns="0" bIns="0" numCol="1" anchor="ctr">
                  <a:spAutoFit/>
                </a:bodyPr>
                <a:lstStyle/>
                <a:p>
                  <a:pPr algn="ctr" defTabSz="914111" hangingPunct="0">
                    <a:defRPr sz="700" b="1">
                      <a:solidFill>
                        <a:srgbClr val="FFFFFF"/>
                      </a:solidFill>
                    </a:defRPr>
                  </a:pPr>
                  <a:r>
                    <a:rPr sz="700" b="1" kern="0">
                      <a:solidFill>
                        <a:srgbClr val="FFFFFF"/>
                      </a:solidFill>
                      <a:cs typeface="Arial"/>
                      <a:sym typeface="Arial"/>
                    </a:rPr>
                    <a:t>RGB 35/24/21</a:t>
                  </a:r>
                </a:p>
              </p:txBody>
            </p:sp>
          </p:grpSp>
          <p:grpSp>
            <p:nvGrpSpPr>
              <p:cNvPr id="175" name="矩形 22"/>
              <p:cNvGrpSpPr/>
              <p:nvPr/>
            </p:nvGrpSpPr>
            <p:grpSpPr>
              <a:xfrm>
                <a:off x="99356" y="2886214"/>
                <a:ext cx="911023" cy="395400"/>
                <a:chOff x="-1" y="-1"/>
                <a:chExt cx="911021" cy="395399"/>
              </a:xfrm>
            </p:grpSpPr>
            <p:sp>
              <p:nvSpPr>
                <p:cNvPr id="173" name="矩形"/>
                <p:cNvSpPr/>
                <p:nvPr/>
              </p:nvSpPr>
              <p:spPr>
                <a:xfrm>
                  <a:off x="-1" y="-1"/>
                  <a:ext cx="911021" cy="395399"/>
                </a:xfrm>
                <a:prstGeom prst="rect">
                  <a:avLst/>
                </a:prstGeom>
                <a:solidFill>
                  <a:srgbClr val="DDDDDD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 defTabSz="914111" hangingPunct="0">
                    <a:defRPr sz="700" b="1">
                      <a:solidFill>
                        <a:srgbClr val="666666"/>
                      </a:solidFill>
                    </a:defRPr>
                  </a:pPr>
                  <a:endParaRPr sz="700" b="1" kern="0">
                    <a:solidFill>
                      <a:srgbClr val="666666"/>
                    </a:solidFill>
                    <a:cs typeface="Arial"/>
                    <a:sym typeface="Arial"/>
                  </a:endParaRPr>
                </a:p>
              </p:txBody>
            </p:sp>
            <p:sp>
              <p:nvSpPr>
                <p:cNvPr id="174" name="RGB 221/221/221"/>
                <p:cNvSpPr txBox="1"/>
                <p:nvPr/>
              </p:nvSpPr>
              <p:spPr>
                <a:xfrm>
                  <a:off x="-1" y="143836"/>
                  <a:ext cx="911021" cy="107722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wrap="square" lIns="0" tIns="0" rIns="0" bIns="0" numCol="1" anchor="ctr">
                  <a:spAutoFit/>
                </a:bodyPr>
                <a:lstStyle/>
                <a:p>
                  <a:pPr algn="ctr" defTabSz="914111" hangingPunct="0">
                    <a:defRPr sz="700" b="1">
                      <a:solidFill>
                        <a:srgbClr val="666666"/>
                      </a:solidFill>
                    </a:defRPr>
                  </a:pPr>
                  <a:r>
                    <a:rPr sz="700" b="1" kern="0">
                      <a:solidFill>
                        <a:srgbClr val="666666"/>
                      </a:solidFill>
                      <a:cs typeface="Arial"/>
                      <a:sym typeface="Arial"/>
                    </a:rPr>
                    <a:t>RGB 221/221/221</a:t>
                  </a:r>
                </a:p>
              </p:txBody>
            </p:sp>
          </p:grpSp>
          <p:grpSp>
            <p:nvGrpSpPr>
              <p:cNvPr id="178" name="矩形 12"/>
              <p:cNvGrpSpPr/>
              <p:nvPr/>
            </p:nvGrpSpPr>
            <p:grpSpPr>
              <a:xfrm>
                <a:off x="1071895" y="648901"/>
                <a:ext cx="885204" cy="395400"/>
                <a:chOff x="-1" y="-1"/>
                <a:chExt cx="885203" cy="395399"/>
              </a:xfrm>
            </p:grpSpPr>
            <p:sp>
              <p:nvSpPr>
                <p:cNvPr id="176" name="矩形"/>
                <p:cNvSpPr/>
                <p:nvPr/>
              </p:nvSpPr>
              <p:spPr>
                <a:xfrm>
                  <a:off x="-1" y="-1"/>
                  <a:ext cx="885203" cy="395399"/>
                </a:xfrm>
                <a:prstGeom prst="rect">
                  <a:avLst/>
                </a:prstGeom>
                <a:solidFill>
                  <a:srgbClr val="E98C80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 defTabSz="914111" hangingPunct="0">
                    <a:defRPr sz="700" b="1">
                      <a:solidFill>
                        <a:srgbClr val="FFFFFF"/>
                      </a:solidFill>
                    </a:defRPr>
                  </a:pPr>
                  <a:endParaRPr sz="700" b="1" kern="0">
                    <a:solidFill>
                      <a:srgbClr val="FFFFFF"/>
                    </a:solidFill>
                    <a:cs typeface="Arial"/>
                    <a:sym typeface="Arial"/>
                  </a:endParaRPr>
                </a:p>
              </p:txBody>
            </p:sp>
            <p:sp>
              <p:nvSpPr>
                <p:cNvPr id="177" name="RGB 233/140/128"/>
                <p:cNvSpPr txBox="1"/>
                <p:nvPr/>
              </p:nvSpPr>
              <p:spPr>
                <a:xfrm>
                  <a:off x="-1" y="143836"/>
                  <a:ext cx="885203" cy="107722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wrap="square" lIns="0" tIns="0" rIns="0" bIns="0" numCol="1" anchor="ctr">
                  <a:spAutoFit/>
                </a:bodyPr>
                <a:lstStyle/>
                <a:p>
                  <a:pPr algn="ctr" defTabSz="914111" hangingPunct="0">
                    <a:defRPr sz="700" b="1">
                      <a:solidFill>
                        <a:srgbClr val="FFFFFF"/>
                      </a:solidFill>
                    </a:defRPr>
                  </a:pPr>
                  <a:r>
                    <a:rPr sz="700" b="1" kern="0">
                      <a:solidFill>
                        <a:srgbClr val="FFFFFF"/>
                      </a:solidFill>
                      <a:cs typeface="Arial"/>
                      <a:sym typeface="Arial"/>
                    </a:rPr>
                    <a:t>RGB 233/140/128</a:t>
                  </a:r>
                </a:p>
              </p:txBody>
            </p:sp>
          </p:grpSp>
          <p:grpSp>
            <p:nvGrpSpPr>
              <p:cNvPr id="181" name="矩形 13"/>
              <p:cNvGrpSpPr/>
              <p:nvPr/>
            </p:nvGrpSpPr>
            <p:grpSpPr>
              <a:xfrm>
                <a:off x="1071895" y="198821"/>
                <a:ext cx="885204" cy="395400"/>
                <a:chOff x="-1" y="-1"/>
                <a:chExt cx="885203" cy="395399"/>
              </a:xfrm>
            </p:grpSpPr>
            <p:sp>
              <p:nvSpPr>
                <p:cNvPr id="179" name="矩形"/>
                <p:cNvSpPr/>
                <p:nvPr/>
              </p:nvSpPr>
              <p:spPr>
                <a:xfrm>
                  <a:off x="-1" y="-1"/>
                  <a:ext cx="885203" cy="395399"/>
                </a:xfrm>
                <a:prstGeom prst="rect">
                  <a:avLst/>
                </a:prstGeom>
                <a:solidFill>
                  <a:srgbClr val="A72126"/>
                </a:solidFill>
                <a:ln w="12700" cap="flat">
                  <a:solidFill>
                    <a:srgbClr val="9F0001"/>
                  </a:solidFill>
                  <a:prstDash val="solid"/>
                  <a:miter lim="8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 defTabSz="914111" hangingPunct="0">
                    <a:defRPr sz="700" b="1">
                      <a:solidFill>
                        <a:srgbClr val="FFFFFF"/>
                      </a:solidFill>
                    </a:defRPr>
                  </a:pPr>
                  <a:endParaRPr sz="700" b="1" kern="0">
                    <a:solidFill>
                      <a:srgbClr val="FFFFFF"/>
                    </a:solidFill>
                    <a:cs typeface="Arial"/>
                    <a:sym typeface="Arial"/>
                  </a:endParaRPr>
                </a:p>
              </p:txBody>
            </p:sp>
            <p:sp>
              <p:nvSpPr>
                <p:cNvPr id="180" name="RGB 159/0/1"/>
                <p:cNvSpPr txBox="1"/>
                <p:nvPr/>
              </p:nvSpPr>
              <p:spPr>
                <a:xfrm>
                  <a:off x="-1" y="143837"/>
                  <a:ext cx="885203" cy="107722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wrap="square" lIns="0" tIns="0" rIns="0" bIns="0" numCol="1" anchor="ctr">
                  <a:spAutoFit/>
                </a:bodyPr>
                <a:lstStyle/>
                <a:p>
                  <a:pPr algn="ctr" defTabSz="914111" hangingPunct="0">
                    <a:defRPr sz="700" b="1">
                      <a:solidFill>
                        <a:srgbClr val="FFFFFF"/>
                      </a:solidFill>
                    </a:defRPr>
                  </a:pPr>
                  <a:r>
                    <a:rPr sz="700" b="1" kern="0">
                      <a:solidFill>
                        <a:srgbClr val="FFFFFF"/>
                      </a:solidFill>
                      <a:cs typeface="Arial"/>
                      <a:sym typeface="Arial"/>
                    </a:rPr>
                    <a:t>RGB 159/0/1</a:t>
                  </a:r>
                </a:p>
              </p:txBody>
            </p:sp>
          </p:grpSp>
          <p:grpSp>
            <p:nvGrpSpPr>
              <p:cNvPr id="184" name="矩形 16"/>
              <p:cNvGrpSpPr/>
              <p:nvPr/>
            </p:nvGrpSpPr>
            <p:grpSpPr>
              <a:xfrm>
                <a:off x="1071895" y="1546930"/>
                <a:ext cx="885204" cy="395400"/>
                <a:chOff x="-1" y="-1"/>
                <a:chExt cx="885203" cy="395399"/>
              </a:xfrm>
            </p:grpSpPr>
            <p:sp>
              <p:nvSpPr>
                <p:cNvPr id="182" name="矩形"/>
                <p:cNvSpPr/>
                <p:nvPr/>
              </p:nvSpPr>
              <p:spPr>
                <a:xfrm>
                  <a:off x="-1" y="-1"/>
                  <a:ext cx="885203" cy="395399"/>
                </a:xfrm>
                <a:prstGeom prst="rect">
                  <a:avLst/>
                </a:prstGeom>
                <a:solidFill>
                  <a:srgbClr val="F5DC57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 defTabSz="914111" hangingPunct="0">
                    <a:defRPr sz="700" b="1">
                      <a:solidFill>
                        <a:srgbClr val="666666"/>
                      </a:solidFill>
                    </a:defRPr>
                  </a:pPr>
                  <a:endParaRPr sz="700" b="1" kern="0">
                    <a:solidFill>
                      <a:srgbClr val="666666"/>
                    </a:solidFill>
                    <a:cs typeface="Arial"/>
                    <a:sym typeface="Arial"/>
                  </a:endParaRPr>
                </a:p>
              </p:txBody>
            </p:sp>
            <p:sp>
              <p:nvSpPr>
                <p:cNvPr id="183" name="RGB 245/220/87"/>
                <p:cNvSpPr txBox="1"/>
                <p:nvPr/>
              </p:nvSpPr>
              <p:spPr>
                <a:xfrm>
                  <a:off x="-1" y="143836"/>
                  <a:ext cx="885203" cy="107722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wrap="square" lIns="0" tIns="0" rIns="0" bIns="0" numCol="1" anchor="ctr">
                  <a:spAutoFit/>
                </a:bodyPr>
                <a:lstStyle/>
                <a:p>
                  <a:pPr algn="ctr" defTabSz="914111" hangingPunct="0">
                    <a:defRPr sz="700" b="1">
                      <a:solidFill>
                        <a:srgbClr val="666666"/>
                      </a:solidFill>
                    </a:defRPr>
                  </a:pPr>
                  <a:r>
                    <a:rPr sz="700" b="1" kern="0">
                      <a:solidFill>
                        <a:srgbClr val="666666"/>
                      </a:solidFill>
                      <a:cs typeface="Arial"/>
                      <a:sym typeface="Arial"/>
                    </a:rPr>
                    <a:t>RGB 245/220/87</a:t>
                  </a:r>
                </a:p>
              </p:txBody>
            </p:sp>
          </p:grpSp>
          <p:grpSp>
            <p:nvGrpSpPr>
              <p:cNvPr id="187" name="矩形 17"/>
              <p:cNvGrpSpPr/>
              <p:nvPr/>
            </p:nvGrpSpPr>
            <p:grpSpPr>
              <a:xfrm>
                <a:off x="1071895" y="1104663"/>
                <a:ext cx="885204" cy="395400"/>
                <a:chOff x="-1" y="-1"/>
                <a:chExt cx="885203" cy="395399"/>
              </a:xfrm>
            </p:grpSpPr>
            <p:sp>
              <p:nvSpPr>
                <p:cNvPr id="185" name="矩形"/>
                <p:cNvSpPr/>
                <p:nvPr/>
              </p:nvSpPr>
              <p:spPr>
                <a:xfrm>
                  <a:off x="-1" y="-1"/>
                  <a:ext cx="885203" cy="395399"/>
                </a:xfrm>
                <a:prstGeom prst="rect">
                  <a:avLst/>
                </a:prstGeom>
                <a:solidFill>
                  <a:srgbClr val="F08500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 defTabSz="914111" hangingPunct="0">
                    <a:defRPr sz="700" b="1">
                      <a:solidFill>
                        <a:srgbClr val="FFFFFF"/>
                      </a:solidFill>
                    </a:defRPr>
                  </a:pPr>
                  <a:endParaRPr sz="700" b="1" kern="0">
                    <a:solidFill>
                      <a:srgbClr val="FFFFFF"/>
                    </a:solidFill>
                    <a:cs typeface="Arial"/>
                    <a:sym typeface="Arial"/>
                  </a:endParaRPr>
                </a:p>
              </p:txBody>
            </p:sp>
            <p:sp>
              <p:nvSpPr>
                <p:cNvPr id="186" name="RGB 240/133/0"/>
                <p:cNvSpPr txBox="1"/>
                <p:nvPr/>
              </p:nvSpPr>
              <p:spPr>
                <a:xfrm>
                  <a:off x="-1" y="143837"/>
                  <a:ext cx="885203" cy="107722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wrap="square" lIns="0" tIns="0" rIns="0" bIns="0" numCol="1" anchor="ctr">
                  <a:spAutoFit/>
                </a:bodyPr>
                <a:lstStyle/>
                <a:p>
                  <a:pPr algn="ctr" defTabSz="914111" hangingPunct="0">
                    <a:defRPr sz="700" b="1">
                      <a:solidFill>
                        <a:srgbClr val="FFFFFF"/>
                      </a:solidFill>
                    </a:defRPr>
                  </a:pPr>
                  <a:r>
                    <a:rPr sz="700" b="1" kern="0">
                      <a:solidFill>
                        <a:srgbClr val="FFFFFF"/>
                      </a:solidFill>
                      <a:cs typeface="Arial"/>
                      <a:sym typeface="Arial"/>
                    </a:rPr>
                    <a:t>RGB 240/133/0</a:t>
                  </a:r>
                </a:p>
              </p:txBody>
            </p:sp>
          </p:grpSp>
          <p:grpSp>
            <p:nvGrpSpPr>
              <p:cNvPr id="190" name="矩形 18"/>
              <p:cNvGrpSpPr/>
              <p:nvPr/>
            </p:nvGrpSpPr>
            <p:grpSpPr>
              <a:xfrm>
                <a:off x="1071892" y="2438701"/>
                <a:ext cx="911022" cy="395400"/>
                <a:chOff x="-1" y="-1"/>
                <a:chExt cx="911021" cy="395399"/>
              </a:xfrm>
            </p:grpSpPr>
            <p:sp>
              <p:nvSpPr>
                <p:cNvPr id="188" name="矩形"/>
                <p:cNvSpPr/>
                <p:nvPr/>
              </p:nvSpPr>
              <p:spPr>
                <a:xfrm>
                  <a:off x="-1" y="-1"/>
                  <a:ext cx="911021" cy="395399"/>
                </a:xfrm>
                <a:prstGeom prst="rect">
                  <a:avLst/>
                </a:prstGeom>
                <a:solidFill>
                  <a:srgbClr val="B5B5B5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 defTabSz="914111" hangingPunct="0">
                    <a:defRPr sz="700" b="1">
                      <a:solidFill>
                        <a:srgbClr val="FFFFFF"/>
                      </a:solidFill>
                    </a:defRPr>
                  </a:pPr>
                  <a:endParaRPr sz="700" b="1" kern="0">
                    <a:solidFill>
                      <a:srgbClr val="FFFFFF"/>
                    </a:solidFill>
                    <a:cs typeface="Arial"/>
                    <a:sym typeface="Arial"/>
                  </a:endParaRPr>
                </a:p>
              </p:txBody>
            </p:sp>
            <p:sp>
              <p:nvSpPr>
                <p:cNvPr id="189" name="RGB 181/181/181"/>
                <p:cNvSpPr txBox="1"/>
                <p:nvPr/>
              </p:nvSpPr>
              <p:spPr>
                <a:xfrm>
                  <a:off x="-1" y="143836"/>
                  <a:ext cx="911021" cy="107722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wrap="square" lIns="0" tIns="0" rIns="0" bIns="0" numCol="1" anchor="ctr">
                  <a:spAutoFit/>
                </a:bodyPr>
                <a:lstStyle/>
                <a:p>
                  <a:pPr algn="ctr" defTabSz="914111" hangingPunct="0">
                    <a:defRPr sz="700" b="1">
                      <a:solidFill>
                        <a:srgbClr val="FFFFFF"/>
                      </a:solidFill>
                    </a:defRPr>
                  </a:pPr>
                  <a:r>
                    <a:rPr sz="700" b="1" kern="0">
                      <a:solidFill>
                        <a:srgbClr val="FFFFFF"/>
                      </a:solidFill>
                      <a:cs typeface="Arial"/>
                      <a:sym typeface="Arial"/>
                    </a:rPr>
                    <a:t>RGB 181/181/181</a:t>
                  </a:r>
                </a:p>
              </p:txBody>
            </p:sp>
          </p:grpSp>
          <p:grpSp>
            <p:nvGrpSpPr>
              <p:cNvPr id="193" name="矩形 19"/>
              <p:cNvGrpSpPr/>
              <p:nvPr/>
            </p:nvGrpSpPr>
            <p:grpSpPr>
              <a:xfrm>
                <a:off x="1071892" y="1996435"/>
                <a:ext cx="911022" cy="395400"/>
                <a:chOff x="-1" y="-1"/>
                <a:chExt cx="911021" cy="395399"/>
              </a:xfrm>
            </p:grpSpPr>
            <p:sp>
              <p:nvSpPr>
                <p:cNvPr id="191" name="矩形"/>
                <p:cNvSpPr/>
                <p:nvPr/>
              </p:nvSpPr>
              <p:spPr>
                <a:xfrm>
                  <a:off x="-1" y="-1"/>
                  <a:ext cx="911021" cy="395399"/>
                </a:xfrm>
                <a:prstGeom prst="rect">
                  <a:avLst/>
                </a:prstGeom>
                <a:solidFill>
                  <a:srgbClr val="595757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 defTabSz="914111" hangingPunct="0">
                    <a:defRPr sz="700" b="1">
                      <a:solidFill>
                        <a:srgbClr val="FFFFFF"/>
                      </a:solidFill>
                    </a:defRPr>
                  </a:pPr>
                  <a:endParaRPr sz="700" b="1" kern="0">
                    <a:solidFill>
                      <a:srgbClr val="FFFFFF"/>
                    </a:solidFill>
                    <a:cs typeface="Arial"/>
                    <a:sym typeface="Arial"/>
                  </a:endParaRPr>
                </a:p>
              </p:txBody>
            </p:sp>
            <p:sp>
              <p:nvSpPr>
                <p:cNvPr id="192" name="RGB 89/87/87"/>
                <p:cNvSpPr txBox="1"/>
                <p:nvPr/>
              </p:nvSpPr>
              <p:spPr>
                <a:xfrm>
                  <a:off x="-1" y="143837"/>
                  <a:ext cx="911021" cy="107722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wrap="square" lIns="0" tIns="0" rIns="0" bIns="0" numCol="1" anchor="ctr">
                  <a:spAutoFit/>
                </a:bodyPr>
                <a:lstStyle/>
                <a:p>
                  <a:pPr algn="ctr" defTabSz="914111" hangingPunct="0">
                    <a:defRPr sz="700" b="1">
                      <a:solidFill>
                        <a:srgbClr val="FFFFFF"/>
                      </a:solidFill>
                    </a:defRPr>
                  </a:pPr>
                  <a:r>
                    <a:rPr sz="700" b="1" kern="0">
                      <a:solidFill>
                        <a:srgbClr val="FFFFFF"/>
                      </a:solidFill>
                      <a:cs typeface="Arial"/>
                      <a:sym typeface="Arial"/>
                    </a:rPr>
                    <a:t>RGB 89/87/87</a:t>
                  </a:r>
                </a:p>
              </p:txBody>
            </p:sp>
          </p:grpSp>
          <p:grpSp>
            <p:nvGrpSpPr>
              <p:cNvPr id="196" name="矩形 22"/>
              <p:cNvGrpSpPr/>
              <p:nvPr/>
            </p:nvGrpSpPr>
            <p:grpSpPr>
              <a:xfrm>
                <a:off x="1071892" y="2886214"/>
                <a:ext cx="911022" cy="395400"/>
                <a:chOff x="-1" y="-1"/>
                <a:chExt cx="911021" cy="395399"/>
              </a:xfrm>
            </p:grpSpPr>
            <p:sp>
              <p:nvSpPr>
                <p:cNvPr id="194" name="矩形"/>
                <p:cNvSpPr/>
                <p:nvPr/>
              </p:nvSpPr>
              <p:spPr>
                <a:xfrm>
                  <a:off x="-1" y="-1"/>
                  <a:ext cx="911021" cy="395399"/>
                </a:xfrm>
                <a:prstGeom prst="rect">
                  <a:avLst/>
                </a:prstGeom>
                <a:solidFill>
                  <a:srgbClr val="FFFFFF"/>
                </a:solidFill>
                <a:ln w="6350" cap="flat">
                  <a:solidFill>
                    <a:srgbClr val="F0F0F0"/>
                  </a:solidFill>
                  <a:prstDash val="solid"/>
                  <a:miter lim="8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 defTabSz="914111" hangingPunct="0">
                    <a:defRPr sz="700" b="1">
                      <a:solidFill>
                        <a:srgbClr val="666666"/>
                      </a:solidFill>
                    </a:defRPr>
                  </a:pPr>
                  <a:endParaRPr sz="700" b="1" kern="0">
                    <a:solidFill>
                      <a:srgbClr val="666666"/>
                    </a:solidFill>
                    <a:cs typeface="Arial"/>
                    <a:sym typeface="Arial"/>
                  </a:endParaRPr>
                </a:p>
              </p:txBody>
            </p:sp>
            <p:sp>
              <p:nvSpPr>
                <p:cNvPr id="195" name="RGB 255/255/255"/>
                <p:cNvSpPr txBox="1"/>
                <p:nvPr/>
              </p:nvSpPr>
              <p:spPr>
                <a:xfrm>
                  <a:off x="-1" y="143836"/>
                  <a:ext cx="911021" cy="107722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wrap="square" lIns="0" tIns="0" rIns="0" bIns="0" numCol="1" anchor="ctr">
                  <a:spAutoFit/>
                </a:bodyPr>
                <a:lstStyle/>
                <a:p>
                  <a:pPr algn="ctr" defTabSz="914111" hangingPunct="0">
                    <a:defRPr sz="700" b="1">
                      <a:solidFill>
                        <a:srgbClr val="666666"/>
                      </a:solidFill>
                    </a:defRPr>
                  </a:pPr>
                  <a:r>
                    <a:rPr sz="700" b="1" kern="0">
                      <a:solidFill>
                        <a:srgbClr val="666666"/>
                      </a:solidFill>
                      <a:cs typeface="Arial"/>
                      <a:sym typeface="Arial"/>
                    </a:rPr>
                    <a:t>RGB 255/255/255</a:t>
                  </a:r>
                </a:p>
              </p:txBody>
            </p:sp>
          </p:grpSp>
        </p:grpSp>
      </p:grpSp>
      <p:pic>
        <p:nvPicPr>
          <p:cNvPr id="199" name="图片 46" descr="图片 4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99982" y="6319870"/>
            <a:ext cx="1269572" cy="271154"/>
          </a:xfrm>
          <a:prstGeom prst="rect">
            <a:avLst/>
          </a:prstGeom>
          <a:ln w="12700">
            <a:miter lim="400000"/>
          </a:ln>
        </p:spPr>
      </p:pic>
      <p:sp>
        <p:nvSpPr>
          <p:cNvPr id="200" name="正文级别 1…"/>
          <p:cNvSpPr txBox="1">
            <a:spLocks noGrp="1"/>
          </p:cNvSpPr>
          <p:nvPr>
            <p:ph type="body" sz="quarter" idx="1"/>
          </p:nvPr>
        </p:nvSpPr>
        <p:spPr>
          <a:xfrm>
            <a:off x="729460" y="456133"/>
            <a:ext cx="10744836" cy="993402"/>
          </a:xfrm>
          <a:prstGeom prst="rect">
            <a:avLst/>
          </a:prstGeom>
        </p:spPr>
        <p:txBody>
          <a:bodyPr>
            <a:normAutofit/>
          </a:bodyPr>
          <a:lstStyle>
            <a:lvl1pPr defTabSz="1187323">
              <a:lnSpc>
                <a:spcPts val="3399"/>
              </a:lnSpc>
              <a:defRPr sz="2799">
                <a:solidFill>
                  <a:srgbClr val="1D1D1A"/>
                </a:solidFill>
                <a:latin typeface="Microsoft YaHei"/>
                <a:ea typeface="Microsoft YaHei"/>
                <a:cs typeface="Microsoft YaHei"/>
                <a:sym typeface="Microsoft YaHei"/>
              </a:defRPr>
            </a:lvl1pPr>
            <a:lvl2pPr indent="593661" defTabSz="1187323">
              <a:lnSpc>
                <a:spcPts val="3399"/>
              </a:lnSpc>
              <a:defRPr sz="2799">
                <a:solidFill>
                  <a:srgbClr val="1D1D1A"/>
                </a:solidFill>
                <a:latin typeface="Microsoft YaHei"/>
                <a:ea typeface="Microsoft YaHei"/>
                <a:cs typeface="Microsoft YaHei"/>
                <a:sym typeface="Microsoft YaHei"/>
              </a:defRPr>
            </a:lvl2pPr>
            <a:lvl3pPr indent="1187323" defTabSz="1187323">
              <a:lnSpc>
                <a:spcPts val="3399"/>
              </a:lnSpc>
              <a:defRPr sz="2799">
                <a:solidFill>
                  <a:srgbClr val="1D1D1A"/>
                </a:solidFill>
                <a:latin typeface="Microsoft YaHei"/>
                <a:ea typeface="Microsoft YaHei"/>
                <a:cs typeface="Microsoft YaHei"/>
                <a:sym typeface="Microsoft YaHei"/>
              </a:defRPr>
            </a:lvl3pPr>
            <a:lvl4pPr indent="1780985" defTabSz="1187323">
              <a:lnSpc>
                <a:spcPts val="3399"/>
              </a:lnSpc>
              <a:defRPr sz="2799">
                <a:solidFill>
                  <a:srgbClr val="1D1D1A"/>
                </a:solidFill>
                <a:latin typeface="Microsoft YaHei"/>
                <a:ea typeface="Microsoft YaHei"/>
                <a:cs typeface="Microsoft YaHei"/>
                <a:sym typeface="Microsoft YaHei"/>
              </a:defRPr>
            </a:lvl4pPr>
            <a:lvl5pPr indent="2374648" defTabSz="1187323">
              <a:lnSpc>
                <a:spcPts val="3399"/>
              </a:lnSpc>
              <a:defRPr sz="2799">
                <a:solidFill>
                  <a:srgbClr val="1D1D1A"/>
                </a:solidFill>
                <a:latin typeface="Microsoft YaHei"/>
                <a:ea typeface="Microsoft YaHei"/>
                <a:cs typeface="Microsoft YaHei"/>
                <a:sym typeface="Microsoft YaHei"/>
              </a:defRPr>
            </a:lvl5pPr>
          </a:lstStyle>
          <a:p>
            <a:r>
              <a:t>正文级别 1</a:t>
            </a:r>
          </a:p>
          <a:p>
            <a:pPr lvl="1"/>
            <a:r>
              <a:t>正文级别 2</a:t>
            </a:r>
          </a:p>
          <a:p>
            <a:pPr lvl="2"/>
            <a:r>
              <a:t>正文级别 3</a:t>
            </a:r>
          </a:p>
          <a:p>
            <a:pPr lvl="3"/>
            <a:r>
              <a:t>正文级别 4</a:t>
            </a:r>
          </a:p>
          <a:p>
            <a:pPr lvl="4"/>
            <a:r>
              <a:t>正文级别 5</a:t>
            </a:r>
          </a:p>
        </p:txBody>
      </p:sp>
    </p:spTree>
    <p:extLst>
      <p:ext uri="{BB962C8B-B14F-4D97-AF65-F5344CB8AC3E}">
        <p14:creationId xmlns:p14="http://schemas.microsoft.com/office/powerpoint/2010/main" val="3518237009"/>
      </p:ext>
    </p:extLst>
  </p:cSld>
  <p:clrMapOvr>
    <a:masterClrMapping/>
  </p:clrMapOvr>
  <p:transition spd="med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34714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A8B3F0C-616F-224A-B32F-9F9BF5EEE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26021" y="1512875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79388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 sz="1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329026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8088" algn="ctr"/>
              </a:tabLst>
              <a:defRPr sz="1600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1098575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208088" algn="ctr"/>
              </a:tabLst>
              <a:defRPr sz="1299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4pPr>
            <a:lvl5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  <a:p>
            <a:pPr marL="329026" marR="0" lvl="1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75" marR="0" lvl="2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75" marR="0" lvl="2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3328561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27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62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6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38227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8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7" y="451863"/>
            <a:ext cx="10740513" cy="44456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lnSpc>
                <a:spcPts val="3427"/>
              </a:lnSpc>
              <a:spcBef>
                <a:spcPts val="0"/>
              </a:spcBef>
              <a:buNone/>
              <a:defRPr sz="2398" b="1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411" indent="0" algn="ctr">
              <a:buNone/>
              <a:defRPr sz="2596"/>
            </a:lvl2pPr>
            <a:lvl3pPr marL="1186818" indent="0" algn="ctr">
              <a:buNone/>
              <a:defRPr sz="2336"/>
            </a:lvl3pPr>
            <a:lvl4pPr marL="1780230" indent="0" algn="ctr">
              <a:buNone/>
              <a:defRPr sz="2078"/>
            </a:lvl4pPr>
            <a:lvl5pPr marL="2373639" indent="0" algn="ctr">
              <a:buNone/>
              <a:defRPr sz="2078"/>
            </a:lvl5pPr>
            <a:lvl6pPr marL="2967048" indent="0" algn="ctr">
              <a:buNone/>
              <a:defRPr sz="2078"/>
            </a:lvl6pPr>
            <a:lvl7pPr marL="3560457" indent="0" algn="ctr">
              <a:buNone/>
              <a:defRPr sz="2078"/>
            </a:lvl7pPr>
            <a:lvl8pPr marL="4153869" indent="0" algn="ctr">
              <a:buNone/>
              <a:defRPr sz="2078"/>
            </a:lvl8pPr>
            <a:lvl9pPr marL="4747276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7940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6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ctr">
              <a:lnSpc>
                <a:spcPts val="3427"/>
              </a:lnSpc>
              <a:spcBef>
                <a:spcPts val="0"/>
              </a:spcBef>
              <a:buNone/>
              <a:defRPr sz="2798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426" indent="0" algn="ctr">
              <a:buNone/>
              <a:defRPr sz="2596"/>
            </a:lvl2pPr>
            <a:lvl3pPr marL="1186848" indent="0" algn="ctr">
              <a:buNone/>
              <a:defRPr sz="2336"/>
            </a:lvl3pPr>
            <a:lvl4pPr marL="1780275" indent="0" algn="ctr">
              <a:buNone/>
              <a:defRPr sz="2077"/>
            </a:lvl4pPr>
            <a:lvl5pPr marL="2373698" indent="0" algn="ctr">
              <a:buNone/>
              <a:defRPr sz="2077"/>
            </a:lvl5pPr>
            <a:lvl6pPr marL="2967122" indent="0" algn="ctr">
              <a:buNone/>
              <a:defRPr sz="2077"/>
            </a:lvl6pPr>
            <a:lvl7pPr marL="3560546" indent="0" algn="ctr">
              <a:buNone/>
              <a:defRPr sz="2077"/>
            </a:lvl7pPr>
            <a:lvl8pPr marL="4153972" indent="0" algn="ctr">
              <a:buNone/>
              <a:defRPr sz="2077"/>
            </a:lvl8pPr>
            <a:lvl9pPr marL="4747395" indent="0" algn="ctr">
              <a:buNone/>
              <a:defRPr sz="2077"/>
            </a:lvl9pPr>
          </a:lstStyle>
          <a:p>
            <a:r>
              <a:rPr lang="zh-CN" altLang="en-US"/>
              <a:t>单击此处添加标题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84906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结束页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1960DD1-8AC3-8F46-9D2D-BF81187F43FC}"/>
              </a:ext>
            </a:extLst>
          </p:cNvPr>
          <p:cNvSpPr txBox="1"/>
          <p:nvPr userDrawn="1"/>
        </p:nvSpPr>
        <p:spPr>
          <a:xfrm>
            <a:off x="607487" y="1402066"/>
            <a:ext cx="3921034" cy="854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12"/>
            <a:r>
              <a:rPr lang="en-US" sz="4798" dirty="0">
                <a:solidFill>
                  <a:srgbClr val="1D1D1A"/>
                </a:solidFill>
              </a:rPr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253507495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31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62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6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828415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标题 8"/>
          <p:cNvSpPr>
            <a:spLocks noGrp="1"/>
          </p:cNvSpPr>
          <p:nvPr>
            <p:ph type="title"/>
          </p:nvPr>
        </p:nvSpPr>
        <p:spPr>
          <a:xfrm>
            <a:off x="838528" y="365128"/>
            <a:ext cx="10519708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42974777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节页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A8B3F0C-616F-224A-B32F-9F9BF5EEE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42275" y="1244339"/>
            <a:ext cx="11265816" cy="4958996"/>
          </a:xfrm>
          <a:prstGeom prst="rect">
            <a:avLst/>
          </a:prstGeom>
        </p:spPr>
        <p:txBody>
          <a:bodyPr lIns="0" tIns="0" rIns="0" bIns="0"/>
          <a:lstStyle>
            <a:lvl1pPr marL="179100" marR="0" indent="-168007" algn="l" defTabSz="11858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6156" algn="ctr"/>
              </a:tabLst>
              <a:defRPr sz="1796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328499" marR="0" indent="-168007" algn="l" defTabSz="11858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6156" algn="ctr"/>
              </a:tabLst>
              <a:defRPr sz="1596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928812" marR="0" indent="0" algn="l" defTabSz="11858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None/>
              <a:tabLst>
                <a:tab pos="1206156" algn="ctr"/>
              </a:tabLst>
              <a:defRPr sz="1295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525010" indent="-170887">
              <a:buFont typeface="Arial" panose="020B0604020202020204" pitchFamily="34" charset="0"/>
              <a:buChar char="•"/>
              <a:tabLst>
                <a:tab pos="1206488" algn="ctr"/>
              </a:tabLst>
              <a:defRPr sz="1295" baseline="0"/>
            </a:lvl4pPr>
            <a:lvl5pPr marL="525010" indent="-170887">
              <a:buFont typeface="Arial" panose="020B0604020202020204" pitchFamily="34" charset="0"/>
              <a:buChar char="•"/>
              <a:tabLst>
                <a:tab pos="1206488" algn="ctr"/>
              </a:tabLst>
              <a:defRPr sz="1295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altLang="zh-CN" dirty="0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>
          <a:xfrm>
            <a:off x="442278" y="348791"/>
            <a:ext cx="11265817" cy="559472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2796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grpSp>
        <p:nvGrpSpPr>
          <p:cNvPr id="4" name="Group 46"/>
          <p:cNvGrpSpPr>
            <a:grpSpLocks noChangeAspect="1"/>
          </p:cNvGrpSpPr>
          <p:nvPr userDrawn="1"/>
        </p:nvGrpSpPr>
        <p:grpSpPr>
          <a:xfrm>
            <a:off x="12295786" y="2625397"/>
            <a:ext cx="1963324" cy="4233515"/>
            <a:chOff x="5343883" y="-48857"/>
            <a:chExt cx="3263588" cy="7037279"/>
          </a:xfrm>
        </p:grpSpPr>
        <p:sp>
          <p:nvSpPr>
            <p:cNvPr id="7" name="矩形 13"/>
            <p:cNvSpPr/>
            <p:nvPr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8" name="文本框 15"/>
            <p:cNvSpPr txBox="1"/>
            <p:nvPr/>
          </p:nvSpPr>
          <p:spPr>
            <a:xfrm>
              <a:off x="5352721" y="1694497"/>
              <a:ext cx="1636699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3016"/>
              <a:r>
                <a:rPr kumimoji="1" lang="zh-CN" altLang="en-US" sz="800">
                  <a:solidFill>
                    <a:srgbClr val="1B1B18"/>
                  </a:solidFill>
                  <a:cs typeface="Arial" panose="020B0604020202020204" pitchFamily="34" charset="0"/>
                </a:rPr>
                <a:t>公司辅助色</a:t>
              </a:r>
              <a:endParaRPr kumimoji="1" lang="zh-CN" altLang="en-US" sz="800" dirty="0">
                <a:solidFill>
                  <a:srgbClr val="1B1B18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" name="矩形 13"/>
            <p:cNvSpPr/>
            <p:nvPr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10" name="矩形 13"/>
            <p:cNvSpPr/>
            <p:nvPr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11" name="矩形 13"/>
            <p:cNvSpPr/>
            <p:nvPr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12" name="矩形 13"/>
            <p:cNvSpPr/>
            <p:nvPr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13" name="矩形 13"/>
            <p:cNvSpPr/>
            <p:nvPr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14" name="矩形 13"/>
            <p:cNvSpPr/>
            <p:nvPr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5C</a:t>
              </a:r>
            </a:p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15" name="文本框 15"/>
            <p:cNvSpPr txBox="1"/>
            <p:nvPr/>
          </p:nvSpPr>
          <p:spPr>
            <a:xfrm>
              <a:off x="5343883" y="-48857"/>
              <a:ext cx="1358295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3016"/>
              <a:r>
                <a:rPr kumimoji="1" lang="zh-CN" altLang="en-US" sz="800">
                  <a:solidFill>
                    <a:srgbClr val="1B1B18"/>
                  </a:solidFill>
                  <a:cs typeface="Arial" panose="020B0604020202020204" pitchFamily="34" charset="0"/>
                </a:rPr>
                <a:t>公司色</a:t>
              </a:r>
              <a:endParaRPr kumimoji="1" lang="zh-CN" altLang="en-US" sz="800" dirty="0">
                <a:solidFill>
                  <a:srgbClr val="1B1B18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6" name="矩形 13"/>
            <p:cNvSpPr/>
            <p:nvPr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6C</a:t>
              </a:r>
            </a:p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17" name="矩形 13"/>
            <p:cNvSpPr/>
            <p:nvPr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8" name="矩形 13"/>
            <p:cNvSpPr/>
            <p:nvPr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9" name="矩形 13"/>
            <p:cNvSpPr/>
            <p:nvPr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20" name="矩形 13"/>
            <p:cNvSpPr/>
            <p:nvPr/>
          </p:nvSpPr>
          <p:spPr>
            <a:xfrm>
              <a:off x="6194511" y="4866463"/>
              <a:ext cx="791510" cy="664397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21" name="矩形 13"/>
            <p:cNvSpPr/>
            <p:nvPr/>
          </p:nvSpPr>
          <p:spPr>
            <a:xfrm>
              <a:off x="6192274" y="4134866"/>
              <a:ext cx="791510" cy="664397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22" name="矩形 13"/>
            <p:cNvSpPr/>
            <p:nvPr/>
          </p:nvSpPr>
          <p:spPr>
            <a:xfrm>
              <a:off x="6192274" y="5596166"/>
              <a:ext cx="791510" cy="664397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23" name="矩形 13"/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24" name="矩形 13"/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25" name="矩形 13"/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26" name="矩形 13"/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27" name="矩形 13"/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1B1B18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28" name="矩形 13"/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29" name="矩形 13"/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30" name="矩形 13"/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31" name="矩形 13"/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32" name="矩形 13"/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33" name="矩形 13"/>
            <p:cNvSpPr/>
            <p:nvPr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34" name="矩形 13"/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35" name="矩形 13"/>
            <p:cNvSpPr/>
            <p:nvPr/>
          </p:nvSpPr>
          <p:spPr>
            <a:xfrm>
              <a:off x="7806130" y="3415851"/>
              <a:ext cx="791510" cy="664397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1B1B18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36" name="矩形 13"/>
            <p:cNvSpPr/>
            <p:nvPr/>
          </p:nvSpPr>
          <p:spPr>
            <a:xfrm>
              <a:off x="7815961" y="4866463"/>
              <a:ext cx="791510" cy="664397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37" name="矩形 13"/>
            <p:cNvSpPr/>
            <p:nvPr/>
          </p:nvSpPr>
          <p:spPr>
            <a:xfrm>
              <a:off x="7813724" y="4134866"/>
              <a:ext cx="791510" cy="664397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38" name="矩形 13"/>
            <p:cNvSpPr/>
            <p:nvPr/>
          </p:nvSpPr>
          <p:spPr>
            <a:xfrm>
              <a:off x="7813724" y="5596166"/>
              <a:ext cx="791510" cy="664397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190/23/238</a:t>
              </a:r>
            </a:p>
          </p:txBody>
        </p:sp>
        <p:sp>
          <p:nvSpPr>
            <p:cNvPr id="39" name="矩形 13"/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40" name="矩形 13"/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41" name="矩形 13"/>
            <p:cNvSpPr/>
            <p:nvPr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35/24/21</a:t>
              </a:r>
            </a:p>
          </p:txBody>
        </p:sp>
        <p:sp>
          <p:nvSpPr>
            <p:cNvPr id="42" name="矩形 13"/>
            <p:cNvSpPr/>
            <p:nvPr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43" name="矩形 13"/>
            <p:cNvSpPr/>
            <p:nvPr/>
          </p:nvSpPr>
          <p:spPr>
            <a:xfrm>
              <a:off x="6450318" y="6324025"/>
              <a:ext cx="513579" cy="664397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44" name="矩形 13"/>
            <p:cNvSpPr/>
            <p:nvPr/>
          </p:nvSpPr>
          <p:spPr>
            <a:xfrm>
              <a:off x="6998296" y="6324025"/>
              <a:ext cx="513579" cy="664397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45" name="矩形 13"/>
            <p:cNvSpPr/>
            <p:nvPr/>
          </p:nvSpPr>
          <p:spPr>
            <a:xfrm>
              <a:off x="7541580" y="6324025"/>
              <a:ext cx="513579" cy="664397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46" name="矩形 13"/>
            <p:cNvSpPr/>
            <p:nvPr/>
          </p:nvSpPr>
          <p:spPr>
            <a:xfrm>
              <a:off x="8083608" y="6324025"/>
              <a:ext cx="513579" cy="66439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25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12637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pos="3841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303">
          <p15:clr>
            <a:srgbClr val="FBAE40"/>
          </p15:clr>
        </p15:guide>
        <p15:guide id="4" pos="7380">
          <p15:clr>
            <a:srgbClr val="FBAE40"/>
          </p15:clr>
        </p15:guide>
        <p15:guide id="5" orient="horz" pos="640">
          <p15:clr>
            <a:srgbClr val="FBAE40"/>
          </p15:clr>
        </p15:guide>
        <p15:guide id="6" orient="horz" pos="3952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5"/>
            <a:ext cx="10740640" cy="9934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ts val="3427"/>
              </a:lnSpc>
              <a:spcBef>
                <a:spcPts val="0"/>
              </a:spcBef>
              <a:buNone/>
              <a:defRPr sz="3198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411" indent="0" algn="ctr">
              <a:buNone/>
              <a:defRPr sz="2596"/>
            </a:lvl2pPr>
            <a:lvl3pPr marL="1186818" indent="0" algn="ctr">
              <a:buNone/>
              <a:defRPr sz="2336"/>
            </a:lvl3pPr>
            <a:lvl4pPr marL="1780230" indent="0" algn="ctr">
              <a:buNone/>
              <a:defRPr sz="2078"/>
            </a:lvl4pPr>
            <a:lvl5pPr marL="2373639" indent="0" algn="ctr">
              <a:buNone/>
              <a:defRPr sz="2078"/>
            </a:lvl5pPr>
            <a:lvl6pPr marL="2967048" indent="0" algn="ctr">
              <a:buNone/>
              <a:defRPr sz="2078"/>
            </a:lvl6pPr>
            <a:lvl7pPr marL="3560457" indent="0" algn="ctr">
              <a:buNone/>
              <a:defRPr sz="2078"/>
            </a:lvl7pPr>
            <a:lvl8pPr marL="4153869" indent="0" algn="ctr">
              <a:buNone/>
              <a:defRPr sz="2078"/>
            </a:lvl8pPr>
            <a:lvl9pPr marL="4747276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910" y="1501989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2363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7423" algn="ctr"/>
              </a:tabLst>
              <a:defRPr sz="1798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417" indent="-171018">
              <a:buFont typeface="Arial" panose="020B0604020202020204" pitchFamily="34" charset="0"/>
              <a:buChar char="•"/>
              <a:tabLst>
                <a:tab pos="1207423" algn="ctr"/>
              </a:tabLst>
              <a:defRPr sz="1298" baseline="0"/>
            </a:lvl2pPr>
            <a:lvl3pPr marL="525417" indent="-171018">
              <a:buFont typeface="Arial" panose="020B0604020202020204" pitchFamily="34" charset="0"/>
              <a:buChar char="•"/>
              <a:tabLst>
                <a:tab pos="1207423" algn="ctr"/>
              </a:tabLst>
              <a:defRPr sz="1298" baseline="0"/>
            </a:lvl3pPr>
            <a:lvl4pPr marL="525417" indent="-171018">
              <a:buFont typeface="Arial" panose="020B0604020202020204" pitchFamily="34" charset="0"/>
              <a:buChar char="•"/>
              <a:tabLst>
                <a:tab pos="1207423" algn="ctr"/>
              </a:tabLst>
              <a:defRPr sz="1298" baseline="0"/>
            </a:lvl4pPr>
            <a:lvl5pPr marL="525417" indent="-171018">
              <a:buFont typeface="Arial" panose="020B0604020202020204" pitchFamily="34" charset="0"/>
              <a:buChar char="•"/>
              <a:tabLst>
                <a:tab pos="1207423" algn="ctr"/>
              </a:tabLst>
              <a:defRPr sz="1298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55393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75616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27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62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6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95268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08638" y="608400"/>
            <a:ext cx="10973485" cy="705600"/>
          </a:xfrm>
        </p:spPr>
        <p:txBody>
          <a:bodyPr vert="horz" lIns="90000" tIns="46800" rIns="90000" bIns="46800" rtlCol="0" anchor="ctr" anchorCtr="0">
            <a:normAutofit/>
          </a:bodyPr>
          <a:lstStyle/>
          <a:p>
            <a:pPr lvl="0"/>
            <a:r>
              <a:rPr dirty="0">
                <a:sym typeface="+mn-ea"/>
              </a:rPr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08638" y="1490400"/>
            <a:ext cx="10973485" cy="4759200"/>
          </a:xfrm>
        </p:spPr>
        <p:txBody>
          <a:bodyPr vert="horz" lIns="90000" tIns="46800" rIns="90000" bIns="46800" rtlCol="0">
            <a:normAutofit/>
          </a:bodyPr>
          <a:lstStyle/>
          <a:p>
            <a:pPr lvl="0"/>
            <a:r>
              <a:rPr dirty="0">
                <a:sym typeface="+mn-ea"/>
              </a:rPr>
              <a:t>单击此处编辑母版文本样式</a:t>
            </a:r>
          </a:p>
          <a:p>
            <a:pPr lvl="1"/>
            <a:r>
              <a:rPr dirty="0">
                <a:sym typeface="+mn-ea"/>
              </a:rPr>
              <a:t>第二级</a:t>
            </a:r>
          </a:p>
          <a:p>
            <a:pPr lvl="2"/>
            <a:r>
              <a:rPr dirty="0">
                <a:sym typeface="+mn-ea"/>
              </a:rPr>
              <a:t>第三级</a:t>
            </a:r>
          </a:p>
          <a:p>
            <a:pPr lvl="3"/>
            <a:r>
              <a:rPr dirty="0">
                <a:sym typeface="+mn-ea"/>
              </a:rPr>
              <a:t>第四级</a:t>
            </a:r>
          </a:p>
          <a:p>
            <a:pPr lvl="4"/>
            <a:r>
              <a:rPr dirty="0">
                <a:sym typeface="+mn-ea"/>
              </a:rPr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612239" y="6314400"/>
            <a:ext cx="2701055" cy="316800"/>
          </a:xfrm>
        </p:spPr>
        <p:txBody>
          <a:bodyPr/>
          <a:lstStyle/>
          <a:p>
            <a:pPr defTabSz="914411"/>
            <a:fld id="{760FBDFE-C587-4B4C-A407-44438C67B59E}" type="datetimeFigureOut">
              <a:rPr lang="zh-CN" altLang="en-US" smtClean="0">
                <a:solidFill>
                  <a:srgbClr val="000000"/>
                </a:solidFill>
              </a:rPr>
              <a:pPr defTabSz="914411"/>
              <a:t>2022/5/13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4117608" y="6314400"/>
            <a:ext cx="3961547" cy="316800"/>
          </a:xfrm>
        </p:spPr>
        <p:txBody>
          <a:bodyPr/>
          <a:lstStyle/>
          <a:p>
            <a:pPr defTabSz="914411"/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8881068" y="6314400"/>
            <a:ext cx="2701055" cy="316800"/>
          </a:xfrm>
        </p:spPr>
        <p:txBody>
          <a:bodyPr/>
          <a:lstStyle/>
          <a:p>
            <a:pPr defTabSz="914411"/>
            <a:fld id="{49AE70B2-8BF9-45C0-BB95-33D1B9D3A854}" type="slidenum">
              <a:rPr lang="zh-CN" altLang="en-US" smtClean="0">
                <a:solidFill>
                  <a:srgbClr val="000000"/>
                </a:solidFill>
              </a:rPr>
              <a:pPr defTabSz="914411"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52879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31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62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6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A8B3F0C-616F-224A-B32F-9F9BF5EEE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26022" y="1512877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79316" marR="0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7605" algn="ctr"/>
              </a:tabLst>
              <a:defRPr sz="17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328894" marR="0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7605" algn="ctr"/>
              </a:tabLst>
              <a:defRPr sz="1599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1098136" marR="0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207605" algn="ctr"/>
              </a:tabLst>
              <a:defRPr sz="1298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4pPr>
            <a:lvl5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  <a:p>
            <a:pPr marL="328894" marR="0" lvl="1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605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136" marR="0" lvl="2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605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136" marR="0" lvl="2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605" algn="ctr"/>
              </a:tabLst>
              <a:defRPr/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6861483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模板刷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834" y="520852"/>
            <a:ext cx="11034000" cy="54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 defTabSz="913851" rtl="0" eaLnBrk="1" fontAlgn="base" latinLnBrk="0" hangingPunct="1">
              <a:lnSpc>
                <a:spcPts val="3427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None/>
              <a:defRPr lang="en-US" sz="2797" b="1" kern="0" dirty="0">
                <a:solidFill>
                  <a:srgbClr val="C00000"/>
                </a:solidFill>
                <a:latin typeface="Huawei Sans" panose="020B0604020202020204"/>
                <a:ea typeface="微软雅黑"/>
                <a:cs typeface="+mn-ea"/>
              </a:defRPr>
            </a:lvl1pPr>
            <a:lvl2pPr marL="593468" indent="0" algn="ctr">
              <a:buNone/>
              <a:defRPr sz="2597"/>
            </a:lvl2pPr>
            <a:lvl3pPr marL="1186937" indent="0" algn="ctr">
              <a:buNone/>
              <a:defRPr sz="2335"/>
            </a:lvl3pPr>
            <a:lvl4pPr marL="1780409" indent="0" algn="ctr">
              <a:buNone/>
              <a:defRPr sz="2079"/>
            </a:lvl4pPr>
            <a:lvl5pPr marL="2373878" indent="0" algn="ctr">
              <a:buNone/>
              <a:defRPr sz="2079"/>
            </a:lvl5pPr>
            <a:lvl6pPr marL="2967344" indent="0" algn="ctr">
              <a:buNone/>
              <a:defRPr sz="2079"/>
            </a:lvl6pPr>
            <a:lvl7pPr marL="3560812" indent="0" algn="ctr">
              <a:buNone/>
              <a:defRPr sz="2079"/>
            </a:lvl7pPr>
            <a:lvl8pPr marL="4154283" indent="0" algn="ctr">
              <a:buNone/>
              <a:defRPr sz="2079"/>
            </a:lvl8pPr>
            <a:lvl9pPr marL="4747750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696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2799" b="1" baseline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62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6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108280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2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8"/>
              </a:lnSpc>
              <a:spcBef>
                <a:spcPts val="0"/>
              </a:spcBef>
              <a:buNone/>
              <a:defRPr sz="2798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425" indent="0" algn="ctr">
              <a:buNone/>
              <a:defRPr sz="2596"/>
            </a:lvl2pPr>
            <a:lvl3pPr marL="1186848" indent="0" algn="ctr">
              <a:buNone/>
              <a:defRPr sz="2336"/>
            </a:lvl3pPr>
            <a:lvl4pPr marL="1780274" indent="0" algn="ctr">
              <a:buNone/>
              <a:defRPr sz="2077"/>
            </a:lvl4pPr>
            <a:lvl5pPr marL="2373698" indent="0" algn="ctr">
              <a:buNone/>
              <a:defRPr sz="2077"/>
            </a:lvl5pPr>
            <a:lvl6pPr marL="2967122" indent="0" algn="ctr">
              <a:buNone/>
              <a:defRPr sz="2077"/>
            </a:lvl6pPr>
            <a:lvl7pPr marL="3560546" indent="0" algn="ctr">
              <a:buNone/>
              <a:defRPr sz="2077"/>
            </a:lvl7pPr>
            <a:lvl8pPr marL="4153972" indent="0" algn="ctr">
              <a:buNone/>
              <a:defRPr sz="2077"/>
            </a:lvl8pPr>
            <a:lvl9pPr marL="4747395" indent="0" algn="ctr">
              <a:buNone/>
              <a:defRPr sz="2077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06097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9011" y="170351"/>
            <a:ext cx="11235233" cy="93588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773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96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9352661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363853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A8B3F0C-616F-224A-B32F-9F9BF5EEE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26021" y="1512875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79388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 sz="1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329026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8088" algn="ctr"/>
              </a:tabLst>
              <a:defRPr sz="1600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1098575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208088" algn="ctr"/>
              </a:tabLst>
              <a:defRPr sz="1299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4pPr>
            <a:lvl5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  <a:p>
            <a:pPr marL="329026" marR="0" lvl="1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75" marR="0" lvl="2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75" marR="0" lvl="2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0560293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09630" y="468677"/>
            <a:ext cx="11377506" cy="10422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09681" y="1599829"/>
            <a:ext cx="10977404" cy="45265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4058551568"/>
      </p:ext>
    </p:extLst>
  </p:cSld>
  <p:clrMapOvr>
    <a:masterClrMapping/>
  </p:clrMapOvr>
  <p:transition spd="med" advClick="0"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en-US" altLang="zh-CN" dirty="0"/>
              <a:t>Ar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01424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18560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20363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20579662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49" y="289515"/>
            <a:ext cx="11660392" cy="89966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5469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3765120"/>
      </p:ext>
    </p:extLst>
  </p:cSld>
  <p:clrMapOvr>
    <a:masterClrMapping/>
  </p:clrMapOvr>
  <p:transition advClick="0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20363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18726830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1467588" cy="49759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2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62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6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25120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26023" y="1501989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2373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8420" algn="ctr"/>
              </a:tabLst>
              <a:defRPr sz="1800" baseline="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2pPr>
            <a:lvl3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3pPr>
            <a:lvl4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4pPr>
            <a:lvl5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7695435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4615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12997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27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722" indent="0" algn="ctr">
              <a:buNone/>
              <a:defRPr sz="2597"/>
            </a:lvl2pPr>
            <a:lvl3pPr marL="1187441" indent="0" algn="ctr">
              <a:buNone/>
              <a:defRPr sz="2338"/>
            </a:lvl3pPr>
            <a:lvl4pPr marL="1781165" indent="0" algn="ctr">
              <a:buNone/>
              <a:defRPr sz="2079"/>
            </a:lvl4pPr>
            <a:lvl5pPr marL="2374885" indent="0" algn="ctr">
              <a:buNone/>
              <a:defRPr sz="2079"/>
            </a:lvl5pPr>
            <a:lvl6pPr marL="2968606" indent="0" algn="ctr">
              <a:buNone/>
              <a:defRPr sz="2079"/>
            </a:lvl6pPr>
            <a:lvl7pPr marL="3562327" indent="0" algn="ctr">
              <a:buNone/>
              <a:defRPr sz="2079"/>
            </a:lvl7pPr>
            <a:lvl8pPr marL="4156050" indent="0" algn="ctr">
              <a:buNone/>
              <a:defRPr sz="2079"/>
            </a:lvl8pPr>
            <a:lvl9pPr marL="4749770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97664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495748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2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73633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模板刷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833" y="520852"/>
            <a:ext cx="11034000" cy="54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 defTabSz="914217" rtl="0" eaLnBrk="1" fontAlgn="base" latinLnBrk="0" hangingPunct="1">
              <a:lnSpc>
                <a:spcPts val="3428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None/>
              <a:defRPr lang="en-US" sz="2798" b="1" kern="0" dirty="0">
                <a:solidFill>
                  <a:srgbClr val="C00000"/>
                </a:solidFill>
                <a:latin typeface="Huawei Sans" panose="020B0604020202020204"/>
                <a:ea typeface="微软雅黑"/>
                <a:cs typeface="+mn-ea"/>
              </a:defRPr>
            </a:lvl1pPr>
            <a:lvl2pPr marL="593705" indent="0" algn="ctr">
              <a:buNone/>
              <a:defRPr sz="2598"/>
            </a:lvl2pPr>
            <a:lvl3pPr marL="1187412" indent="0" algn="ctr">
              <a:buNone/>
              <a:defRPr sz="2336"/>
            </a:lvl3pPr>
            <a:lvl4pPr marL="1781121" indent="0" algn="ctr">
              <a:buNone/>
              <a:defRPr sz="2080"/>
            </a:lvl4pPr>
            <a:lvl5pPr marL="2374828" indent="0" algn="ctr">
              <a:buNone/>
              <a:defRPr sz="2080"/>
            </a:lvl5pPr>
            <a:lvl6pPr marL="2968531" indent="0" algn="ctr">
              <a:buNone/>
              <a:defRPr sz="2080"/>
            </a:lvl6pPr>
            <a:lvl7pPr marL="3562237" indent="0" algn="ctr">
              <a:buNone/>
              <a:defRPr sz="2080"/>
            </a:lvl7pPr>
            <a:lvl8pPr marL="4155945" indent="0" algn="ctr">
              <a:buNone/>
              <a:defRPr sz="2080"/>
            </a:lvl8pPr>
            <a:lvl9pPr marL="4749650" indent="0" algn="ctr">
              <a:buNone/>
              <a:defRPr sz="208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3956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8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6" y="451861"/>
            <a:ext cx="10740513" cy="44456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lnSpc>
                <a:spcPts val="3428"/>
              </a:lnSpc>
              <a:spcBef>
                <a:spcPts val="0"/>
              </a:spcBef>
              <a:buNone/>
              <a:defRPr sz="2399" b="1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48" indent="0" algn="ctr">
              <a:buNone/>
              <a:defRPr sz="2597"/>
            </a:lvl2pPr>
            <a:lvl3pPr marL="1187293" indent="0" algn="ctr">
              <a:buNone/>
              <a:defRPr sz="2337"/>
            </a:lvl3pPr>
            <a:lvl4pPr marL="1780942" indent="0" algn="ctr">
              <a:buNone/>
              <a:defRPr sz="2079"/>
            </a:lvl4pPr>
            <a:lvl5pPr marL="2374589" indent="0" algn="ctr">
              <a:buNone/>
              <a:defRPr sz="2079"/>
            </a:lvl5pPr>
            <a:lvl6pPr marL="2968235" indent="0" algn="ctr">
              <a:buNone/>
              <a:defRPr sz="2079"/>
            </a:lvl6pPr>
            <a:lvl7pPr marL="3561882" indent="0" algn="ctr">
              <a:buNone/>
              <a:defRPr sz="2079"/>
            </a:lvl7pPr>
            <a:lvl8pPr marL="4155531" indent="0" algn="ctr">
              <a:buNone/>
              <a:defRPr sz="2079"/>
            </a:lvl8pPr>
            <a:lvl9pPr marL="4749176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18938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6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ctr">
              <a:lnSpc>
                <a:spcPts val="3428"/>
              </a:lnSpc>
              <a:spcBef>
                <a:spcPts val="0"/>
              </a:spcBef>
              <a:buNone/>
              <a:defRPr sz="27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63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7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zh-CN" altLang="en-US"/>
              <a:t>单击此处添加标题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81251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结束页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1960DD1-8AC3-8F46-9D2D-BF81187F43FC}"/>
              </a:ext>
            </a:extLst>
          </p:cNvPr>
          <p:cNvSpPr txBox="1"/>
          <p:nvPr userDrawn="1"/>
        </p:nvSpPr>
        <p:spPr>
          <a:xfrm>
            <a:off x="607486" y="1402064"/>
            <a:ext cx="3921034" cy="854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>
                <a:solidFill>
                  <a:srgbClr val="1D1D1A"/>
                </a:solidFill>
              </a:rPr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166440696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520260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标题 8"/>
          <p:cNvSpPr>
            <a:spLocks noGrp="1"/>
          </p:cNvSpPr>
          <p:nvPr>
            <p:ph type="title"/>
          </p:nvPr>
        </p:nvSpPr>
        <p:spPr>
          <a:xfrm>
            <a:off x="838528" y="365126"/>
            <a:ext cx="10519708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29352056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908" y="1501989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2373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8420" algn="ctr"/>
              </a:tabLst>
              <a:defRPr sz="1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2pPr>
            <a:lvl3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3pPr>
            <a:lvl4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4pPr>
            <a:lvl5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45276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节页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A8B3F0C-616F-224A-B32F-9F9BF5EEE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42275" y="1244339"/>
            <a:ext cx="11265816" cy="4958996"/>
          </a:xfrm>
          <a:prstGeom prst="rect">
            <a:avLst/>
          </a:prstGeom>
        </p:spPr>
        <p:txBody>
          <a:bodyPr lIns="0" tIns="0" rIns="0" bIns="0"/>
          <a:lstStyle>
            <a:lvl1pPr marL="179172" marR="0" indent="-168074" algn="l" defTabSz="1186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6639" algn="ctr"/>
              </a:tabLst>
              <a:defRPr sz="1797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328630" marR="0" indent="-168074" algn="l" defTabSz="1186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6639" algn="ctr"/>
              </a:tabLst>
              <a:defRPr sz="1597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929184" marR="0" indent="0" algn="l" defTabSz="1186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None/>
              <a:tabLst>
                <a:tab pos="1206639" algn="ctr"/>
              </a:tabLst>
              <a:defRPr sz="1296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525220" indent="-170955">
              <a:buFont typeface="Arial" panose="020B0604020202020204" pitchFamily="34" charset="0"/>
              <a:buChar char="•"/>
              <a:tabLst>
                <a:tab pos="1206971" algn="ctr"/>
              </a:tabLst>
              <a:defRPr sz="1296" baseline="0"/>
            </a:lvl4pPr>
            <a:lvl5pPr marL="525220" indent="-170955">
              <a:buFont typeface="Arial" panose="020B0604020202020204" pitchFamily="34" charset="0"/>
              <a:buChar char="•"/>
              <a:tabLst>
                <a:tab pos="1206971" algn="ctr"/>
              </a:tabLst>
              <a:defRPr sz="1296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altLang="zh-CN" dirty="0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>
          <a:xfrm>
            <a:off x="442277" y="348791"/>
            <a:ext cx="11265817" cy="559472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2797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grpSp>
        <p:nvGrpSpPr>
          <p:cNvPr id="4" name="Group 46"/>
          <p:cNvGrpSpPr>
            <a:grpSpLocks noChangeAspect="1"/>
          </p:cNvGrpSpPr>
          <p:nvPr userDrawn="1"/>
        </p:nvGrpSpPr>
        <p:grpSpPr>
          <a:xfrm>
            <a:off x="12295786" y="2625395"/>
            <a:ext cx="1963324" cy="4233515"/>
            <a:chOff x="5343883" y="-48857"/>
            <a:chExt cx="3263588" cy="7037279"/>
          </a:xfrm>
        </p:grpSpPr>
        <p:sp>
          <p:nvSpPr>
            <p:cNvPr id="7" name="矩形 13"/>
            <p:cNvSpPr/>
            <p:nvPr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8" name="文本框 15"/>
            <p:cNvSpPr txBox="1"/>
            <p:nvPr/>
          </p:nvSpPr>
          <p:spPr>
            <a:xfrm>
              <a:off x="5352721" y="1694497"/>
              <a:ext cx="1636699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3381"/>
              <a:r>
                <a:rPr kumimoji="1" lang="zh-CN" altLang="en-US" sz="800">
                  <a:solidFill>
                    <a:srgbClr val="1B1B18"/>
                  </a:solidFill>
                  <a:cs typeface="Arial" panose="020B0604020202020204" pitchFamily="34" charset="0"/>
                </a:rPr>
                <a:t>公司辅助色</a:t>
              </a:r>
              <a:endParaRPr kumimoji="1" lang="zh-CN" altLang="en-US" sz="800" dirty="0">
                <a:solidFill>
                  <a:srgbClr val="1B1B18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" name="矩形 13"/>
            <p:cNvSpPr/>
            <p:nvPr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10" name="矩形 13"/>
            <p:cNvSpPr/>
            <p:nvPr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11" name="矩形 13"/>
            <p:cNvSpPr/>
            <p:nvPr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12" name="矩形 13"/>
            <p:cNvSpPr/>
            <p:nvPr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13" name="矩形 13"/>
            <p:cNvSpPr/>
            <p:nvPr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14" name="矩形 13"/>
            <p:cNvSpPr/>
            <p:nvPr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5C</a:t>
              </a:r>
            </a:p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15" name="文本框 15"/>
            <p:cNvSpPr txBox="1"/>
            <p:nvPr/>
          </p:nvSpPr>
          <p:spPr>
            <a:xfrm>
              <a:off x="5343883" y="-48857"/>
              <a:ext cx="1358295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3381"/>
              <a:r>
                <a:rPr kumimoji="1" lang="zh-CN" altLang="en-US" sz="800">
                  <a:solidFill>
                    <a:srgbClr val="1B1B18"/>
                  </a:solidFill>
                  <a:cs typeface="Arial" panose="020B0604020202020204" pitchFamily="34" charset="0"/>
                </a:rPr>
                <a:t>公司色</a:t>
              </a:r>
              <a:endParaRPr kumimoji="1" lang="zh-CN" altLang="en-US" sz="800" dirty="0">
                <a:solidFill>
                  <a:srgbClr val="1B1B18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6" name="矩形 13"/>
            <p:cNvSpPr/>
            <p:nvPr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6C</a:t>
              </a:r>
            </a:p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17" name="矩形 13"/>
            <p:cNvSpPr/>
            <p:nvPr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8" name="矩形 13"/>
            <p:cNvSpPr/>
            <p:nvPr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9" name="矩形 13"/>
            <p:cNvSpPr/>
            <p:nvPr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20" name="矩形 13"/>
            <p:cNvSpPr/>
            <p:nvPr/>
          </p:nvSpPr>
          <p:spPr>
            <a:xfrm>
              <a:off x="6194511" y="4866463"/>
              <a:ext cx="791510" cy="664397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21" name="矩形 13"/>
            <p:cNvSpPr/>
            <p:nvPr/>
          </p:nvSpPr>
          <p:spPr>
            <a:xfrm>
              <a:off x="6192274" y="4134866"/>
              <a:ext cx="791510" cy="664397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22" name="矩形 13"/>
            <p:cNvSpPr/>
            <p:nvPr/>
          </p:nvSpPr>
          <p:spPr>
            <a:xfrm>
              <a:off x="6192274" y="5596166"/>
              <a:ext cx="791510" cy="664397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23" name="矩形 13"/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24" name="矩形 13"/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25" name="矩形 13"/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26" name="矩形 13"/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27" name="矩形 13"/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1B1B18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28" name="矩形 13"/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29" name="矩形 13"/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30" name="矩形 13"/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31" name="矩形 13"/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32" name="矩形 13"/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33" name="矩形 13"/>
            <p:cNvSpPr/>
            <p:nvPr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34" name="矩形 13"/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35" name="矩形 13"/>
            <p:cNvSpPr/>
            <p:nvPr/>
          </p:nvSpPr>
          <p:spPr>
            <a:xfrm>
              <a:off x="7806130" y="3415851"/>
              <a:ext cx="791510" cy="664397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1B1B18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36" name="矩形 13"/>
            <p:cNvSpPr/>
            <p:nvPr/>
          </p:nvSpPr>
          <p:spPr>
            <a:xfrm>
              <a:off x="7815961" y="4866463"/>
              <a:ext cx="791510" cy="664397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37" name="矩形 13"/>
            <p:cNvSpPr/>
            <p:nvPr/>
          </p:nvSpPr>
          <p:spPr>
            <a:xfrm>
              <a:off x="7813724" y="4134866"/>
              <a:ext cx="791510" cy="664397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38" name="矩形 13"/>
            <p:cNvSpPr/>
            <p:nvPr/>
          </p:nvSpPr>
          <p:spPr>
            <a:xfrm>
              <a:off x="7813724" y="5596166"/>
              <a:ext cx="791510" cy="664397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190/23/238</a:t>
              </a:r>
            </a:p>
          </p:txBody>
        </p:sp>
        <p:sp>
          <p:nvSpPr>
            <p:cNvPr id="39" name="矩形 13"/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40" name="矩形 13"/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41" name="矩形 13"/>
            <p:cNvSpPr/>
            <p:nvPr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35/24/21</a:t>
              </a:r>
            </a:p>
          </p:txBody>
        </p:sp>
        <p:sp>
          <p:nvSpPr>
            <p:cNvPr id="42" name="矩形 13"/>
            <p:cNvSpPr/>
            <p:nvPr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43" name="矩形 13"/>
            <p:cNvSpPr/>
            <p:nvPr/>
          </p:nvSpPr>
          <p:spPr>
            <a:xfrm>
              <a:off x="6450318" y="6324025"/>
              <a:ext cx="513579" cy="664397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44" name="矩形 13"/>
            <p:cNvSpPr/>
            <p:nvPr/>
          </p:nvSpPr>
          <p:spPr>
            <a:xfrm>
              <a:off x="6998296" y="6324025"/>
              <a:ext cx="513579" cy="664397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45" name="矩形 13"/>
            <p:cNvSpPr/>
            <p:nvPr/>
          </p:nvSpPr>
          <p:spPr>
            <a:xfrm>
              <a:off x="7541580" y="6324025"/>
              <a:ext cx="513579" cy="664397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46" name="矩形 13"/>
            <p:cNvSpPr/>
            <p:nvPr/>
          </p:nvSpPr>
          <p:spPr>
            <a:xfrm>
              <a:off x="8083608" y="6324025"/>
              <a:ext cx="513579" cy="66439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 defTabSz="913381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25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32872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pos="3841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303">
          <p15:clr>
            <a:srgbClr val="FBAE40"/>
          </p15:clr>
        </p15:guide>
        <p15:guide id="4" pos="7380">
          <p15:clr>
            <a:srgbClr val="FBAE40"/>
          </p15:clr>
        </p15:guide>
        <p15:guide id="5" orient="horz" pos="640">
          <p15:clr>
            <a:srgbClr val="FBAE40"/>
          </p15:clr>
        </p15:guide>
        <p15:guide id="6" orient="horz" pos="3952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5"/>
            <a:ext cx="10740640" cy="9934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ts val="3428"/>
              </a:lnSpc>
              <a:spcBef>
                <a:spcPts val="0"/>
              </a:spcBef>
              <a:buNone/>
              <a:defRPr sz="31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48" indent="0" algn="ctr">
              <a:buNone/>
              <a:defRPr sz="2597"/>
            </a:lvl2pPr>
            <a:lvl3pPr marL="1187293" indent="0" algn="ctr">
              <a:buNone/>
              <a:defRPr sz="2337"/>
            </a:lvl3pPr>
            <a:lvl4pPr marL="1780942" indent="0" algn="ctr">
              <a:buNone/>
              <a:defRPr sz="2079"/>
            </a:lvl4pPr>
            <a:lvl5pPr marL="2374589" indent="0" algn="ctr">
              <a:buNone/>
              <a:defRPr sz="2079"/>
            </a:lvl5pPr>
            <a:lvl6pPr marL="2968235" indent="0" algn="ctr">
              <a:buNone/>
              <a:defRPr sz="2079"/>
            </a:lvl6pPr>
            <a:lvl7pPr marL="3561882" indent="0" algn="ctr">
              <a:buNone/>
              <a:defRPr sz="2079"/>
            </a:lvl7pPr>
            <a:lvl8pPr marL="4155531" indent="0" algn="ctr">
              <a:buNone/>
              <a:defRPr sz="2079"/>
            </a:lvl8pPr>
            <a:lvl9pPr marL="4749176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909" y="1501989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2368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7906" algn="ctr"/>
              </a:tabLst>
              <a:defRPr sz="17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627" indent="-171086">
              <a:buFont typeface="Arial" panose="020B0604020202020204" pitchFamily="34" charset="0"/>
              <a:buChar char="•"/>
              <a:tabLst>
                <a:tab pos="1207906" algn="ctr"/>
              </a:tabLst>
              <a:defRPr sz="1299" baseline="0"/>
            </a:lvl2pPr>
            <a:lvl3pPr marL="525627" indent="-171086">
              <a:buFont typeface="Arial" panose="020B0604020202020204" pitchFamily="34" charset="0"/>
              <a:buChar char="•"/>
              <a:tabLst>
                <a:tab pos="1207906" algn="ctr"/>
              </a:tabLst>
              <a:defRPr sz="1299" baseline="0"/>
            </a:lvl3pPr>
            <a:lvl4pPr marL="525627" indent="-171086">
              <a:buFont typeface="Arial" panose="020B0604020202020204" pitchFamily="34" charset="0"/>
              <a:buChar char="•"/>
              <a:tabLst>
                <a:tab pos="1207906" algn="ctr"/>
              </a:tabLst>
              <a:defRPr sz="1299" baseline="0"/>
            </a:lvl4pPr>
            <a:lvl5pPr marL="525627" indent="-171086">
              <a:buFont typeface="Arial" panose="020B0604020202020204" pitchFamily="34" charset="0"/>
              <a:buChar char="•"/>
              <a:tabLst>
                <a:tab pos="1207906" algn="ctr"/>
              </a:tabLst>
              <a:defRPr sz="1299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09366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94234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2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75703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55406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2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908" y="1193075"/>
            <a:ext cx="10733557" cy="4999374"/>
          </a:xfrm>
          <a:prstGeom prst="rect">
            <a:avLst/>
          </a:prstGeom>
        </p:spPr>
        <p:txBody>
          <a:bodyPr lIns="0" tIns="0" rIns="0" bIns="0"/>
          <a:lstStyle>
            <a:lvl1pPr marL="12373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8420" algn="ctr"/>
              </a:tabLst>
              <a:defRPr sz="1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2pPr>
            <a:lvl3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3pPr>
            <a:lvl4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4pPr>
            <a:lvl5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42931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A8B3F0C-616F-224A-B32F-9F9BF5EEE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26021" y="1512875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79388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 sz="1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329026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8088" algn="ctr"/>
              </a:tabLst>
              <a:defRPr sz="1600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1098575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208088" algn="ctr"/>
              </a:tabLst>
              <a:defRPr sz="1299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4pPr>
            <a:lvl5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  <a:p>
            <a:pPr marL="329026" marR="0" lvl="1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75" marR="0" lvl="2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75" marR="0" lvl="2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0945509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模板刷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833" y="520852"/>
            <a:ext cx="11034000" cy="54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 defTabSz="914217" rtl="0" eaLnBrk="1" fontAlgn="base" latinLnBrk="0" hangingPunct="1">
              <a:lnSpc>
                <a:spcPts val="3428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None/>
              <a:defRPr lang="en-US" sz="2798" b="1" kern="0" dirty="0">
                <a:solidFill>
                  <a:srgbClr val="C00000"/>
                </a:solidFill>
                <a:latin typeface="Huawei Sans" panose="020B0604020202020204"/>
                <a:ea typeface="微软雅黑"/>
                <a:cs typeface="+mn-ea"/>
              </a:defRPr>
            </a:lvl1pPr>
            <a:lvl2pPr marL="593705" indent="0" algn="ctr">
              <a:buNone/>
              <a:defRPr sz="2598"/>
            </a:lvl2pPr>
            <a:lvl3pPr marL="1187412" indent="0" algn="ctr">
              <a:buNone/>
              <a:defRPr sz="2336"/>
            </a:lvl3pPr>
            <a:lvl4pPr marL="1781121" indent="0" algn="ctr">
              <a:buNone/>
              <a:defRPr sz="2080"/>
            </a:lvl4pPr>
            <a:lvl5pPr marL="2374828" indent="0" algn="ctr">
              <a:buNone/>
              <a:defRPr sz="2080"/>
            </a:lvl5pPr>
            <a:lvl6pPr marL="2968531" indent="0" algn="ctr">
              <a:buNone/>
              <a:defRPr sz="2080"/>
            </a:lvl6pPr>
            <a:lvl7pPr marL="3562237" indent="0" algn="ctr">
              <a:buNone/>
              <a:defRPr sz="2080"/>
            </a:lvl7pPr>
            <a:lvl8pPr marL="4155945" indent="0" algn="ctr">
              <a:buNone/>
              <a:defRPr sz="2080"/>
            </a:lvl8pPr>
            <a:lvl9pPr marL="4749650" indent="0" algn="ctr">
              <a:buNone/>
              <a:defRPr sz="208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86875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2800" b="1" baseline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310838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2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27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62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6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42194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9010" y="170349"/>
            <a:ext cx="11235233" cy="93588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822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97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899324171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结束页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1960DD1-8AC3-8F46-9D2D-BF81187F43FC}"/>
              </a:ext>
            </a:extLst>
          </p:cNvPr>
          <p:cNvSpPr txBox="1"/>
          <p:nvPr userDrawn="1"/>
        </p:nvSpPr>
        <p:spPr>
          <a:xfrm>
            <a:off x="607486" y="1402064"/>
            <a:ext cx="3921034" cy="854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>
                <a:solidFill>
                  <a:srgbClr val="1D1D1A"/>
                </a:solidFill>
              </a:rPr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2333600716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57866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637017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4267853"/>
      </p:ext>
    </p:extLst>
  </p:cSld>
  <p:clrMapOvr>
    <a:masterClrMapping/>
  </p:clrMapOvr>
  <p:transition spd="med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09631" y="468677"/>
            <a:ext cx="11377506" cy="10422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09682" y="1599829"/>
            <a:ext cx="10977404" cy="45265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4204322245"/>
      </p:ext>
    </p:extLst>
  </p:cSld>
  <p:clrMapOvr>
    <a:masterClrMapping/>
  </p:clrMapOvr>
  <p:transition spd="med" advClick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2399" baseline="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93662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6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en-US" altLang="zh-CN" dirty="0"/>
              <a:t>Ar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0037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2399" baseline="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93662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6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en-US" altLang="zh-CN" dirty="0"/>
              <a:t>Ar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33529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924041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49" y="289517"/>
            <a:ext cx="11660392" cy="89966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4818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6233852"/>
      </p:ext>
    </p:extLst>
  </p:cSld>
  <p:clrMapOvr>
    <a:masterClrMapping/>
  </p:clrMapOvr>
  <p:transition advClick="0"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20363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20533097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6"/>
            <a:ext cx="11467588" cy="49759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8"/>
              </a:lnSpc>
              <a:spcBef>
                <a:spcPts val="0"/>
              </a:spcBef>
              <a:buNone/>
              <a:defRPr sz="27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425" indent="0" algn="ctr">
              <a:buNone/>
              <a:defRPr sz="2596"/>
            </a:lvl2pPr>
            <a:lvl3pPr marL="1186848" indent="0" algn="ctr">
              <a:buNone/>
              <a:defRPr sz="2336"/>
            </a:lvl3pPr>
            <a:lvl4pPr marL="1780274" indent="0" algn="ctr">
              <a:buNone/>
              <a:defRPr sz="2077"/>
            </a:lvl4pPr>
            <a:lvl5pPr marL="2373698" indent="0" algn="ctr">
              <a:buNone/>
              <a:defRPr sz="2077"/>
            </a:lvl5pPr>
            <a:lvl6pPr marL="2967122" indent="0" algn="ctr">
              <a:buNone/>
              <a:defRPr sz="2077"/>
            </a:lvl6pPr>
            <a:lvl7pPr marL="3560546" indent="0" algn="ctr">
              <a:buNone/>
              <a:defRPr sz="2077"/>
            </a:lvl7pPr>
            <a:lvl8pPr marL="4153972" indent="0" algn="ctr">
              <a:buNone/>
              <a:defRPr sz="2077"/>
            </a:lvl8pPr>
            <a:lvl9pPr marL="4747395" indent="0" algn="ctr">
              <a:buNone/>
              <a:defRPr sz="2077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15433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3199" baseline="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93662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6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26024" y="1501989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2368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7937" algn="ctr"/>
              </a:tabLst>
              <a:defRPr sz="1799" baseline="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2pPr>
            <a:lvl3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3pPr>
            <a:lvl4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4pPr>
            <a:lvl5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7155733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2542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909686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8"/>
              </a:lnSpc>
              <a:spcBef>
                <a:spcPts val="0"/>
              </a:spcBef>
              <a:buNone/>
              <a:defRPr sz="2798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485" indent="0" algn="ctr">
              <a:buNone/>
              <a:defRPr sz="2596"/>
            </a:lvl2pPr>
            <a:lvl3pPr marL="1186966" indent="0" algn="ctr">
              <a:buNone/>
              <a:defRPr sz="2337"/>
            </a:lvl3pPr>
            <a:lvl4pPr marL="1780453" indent="0" algn="ctr">
              <a:buNone/>
              <a:defRPr sz="2078"/>
            </a:lvl4pPr>
            <a:lvl5pPr marL="2373935" indent="0" algn="ctr">
              <a:buNone/>
              <a:defRPr sz="2078"/>
            </a:lvl5pPr>
            <a:lvl6pPr marL="2967419" indent="0" algn="ctr">
              <a:buNone/>
              <a:defRPr sz="2078"/>
            </a:lvl6pPr>
            <a:lvl7pPr marL="3560902" indent="0" algn="ctr">
              <a:buNone/>
              <a:defRPr sz="2078"/>
            </a:lvl7pPr>
            <a:lvl8pPr marL="4154388" indent="0" algn="ctr">
              <a:buNone/>
              <a:defRPr sz="2078"/>
            </a:lvl8pPr>
            <a:lvl9pPr marL="4747870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54800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2800" b="1" baseline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222159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610203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27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62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6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1967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8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7" y="451863"/>
            <a:ext cx="10740513" cy="44456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lnSpc>
                <a:spcPts val="3427"/>
              </a:lnSpc>
              <a:spcBef>
                <a:spcPts val="0"/>
              </a:spcBef>
              <a:buNone/>
              <a:defRPr sz="2398" b="1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411" indent="0" algn="ctr">
              <a:buNone/>
              <a:defRPr sz="2596"/>
            </a:lvl2pPr>
            <a:lvl3pPr marL="1186818" indent="0" algn="ctr">
              <a:buNone/>
              <a:defRPr sz="2336"/>
            </a:lvl3pPr>
            <a:lvl4pPr marL="1780230" indent="0" algn="ctr">
              <a:buNone/>
              <a:defRPr sz="2078"/>
            </a:lvl4pPr>
            <a:lvl5pPr marL="2373639" indent="0" algn="ctr">
              <a:buNone/>
              <a:defRPr sz="2078"/>
            </a:lvl5pPr>
            <a:lvl6pPr marL="2967048" indent="0" algn="ctr">
              <a:buNone/>
              <a:defRPr sz="2078"/>
            </a:lvl6pPr>
            <a:lvl7pPr marL="3560457" indent="0" algn="ctr">
              <a:buNone/>
              <a:defRPr sz="2078"/>
            </a:lvl7pPr>
            <a:lvl8pPr marL="4153869" indent="0" algn="ctr">
              <a:buNone/>
              <a:defRPr sz="2078"/>
            </a:lvl8pPr>
            <a:lvl9pPr marL="4747276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25878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6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ctr">
              <a:lnSpc>
                <a:spcPts val="3427"/>
              </a:lnSpc>
              <a:spcBef>
                <a:spcPts val="0"/>
              </a:spcBef>
              <a:buNone/>
              <a:defRPr sz="2798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426" indent="0" algn="ctr">
              <a:buNone/>
              <a:defRPr sz="2596"/>
            </a:lvl2pPr>
            <a:lvl3pPr marL="1186848" indent="0" algn="ctr">
              <a:buNone/>
              <a:defRPr sz="2336"/>
            </a:lvl3pPr>
            <a:lvl4pPr marL="1780275" indent="0" algn="ctr">
              <a:buNone/>
              <a:defRPr sz="2077"/>
            </a:lvl4pPr>
            <a:lvl5pPr marL="2373698" indent="0" algn="ctr">
              <a:buNone/>
              <a:defRPr sz="2077"/>
            </a:lvl5pPr>
            <a:lvl6pPr marL="2967122" indent="0" algn="ctr">
              <a:buNone/>
              <a:defRPr sz="2077"/>
            </a:lvl6pPr>
            <a:lvl7pPr marL="3560546" indent="0" algn="ctr">
              <a:buNone/>
              <a:defRPr sz="2077"/>
            </a:lvl7pPr>
            <a:lvl8pPr marL="4153972" indent="0" algn="ctr">
              <a:buNone/>
              <a:defRPr sz="2077"/>
            </a:lvl8pPr>
            <a:lvl9pPr marL="4747395" indent="0" algn="ctr">
              <a:buNone/>
              <a:defRPr sz="2077"/>
            </a:lvl9pPr>
          </a:lstStyle>
          <a:p>
            <a:r>
              <a:rPr lang="zh-CN" altLang="en-US"/>
              <a:t>单击此处添加标题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6945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结束页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1960DD1-8AC3-8F46-9D2D-BF81187F43FC}"/>
              </a:ext>
            </a:extLst>
          </p:cNvPr>
          <p:cNvSpPr txBox="1"/>
          <p:nvPr userDrawn="1"/>
        </p:nvSpPr>
        <p:spPr>
          <a:xfrm>
            <a:off x="607487" y="1402066"/>
            <a:ext cx="3921034" cy="854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12"/>
            <a:r>
              <a:rPr lang="en-US" sz="4798" dirty="0">
                <a:solidFill>
                  <a:srgbClr val="1D1D1A"/>
                </a:solidFill>
              </a:rPr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203910481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31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62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6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152981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标题 8"/>
          <p:cNvSpPr>
            <a:spLocks noGrp="1"/>
          </p:cNvSpPr>
          <p:nvPr>
            <p:ph type="title"/>
          </p:nvPr>
        </p:nvSpPr>
        <p:spPr>
          <a:xfrm>
            <a:off x="838528" y="365128"/>
            <a:ext cx="10519708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37504820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31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62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6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909" y="1501989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2368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7937" algn="ctr"/>
              </a:tabLst>
              <a:defRPr sz="17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2pPr>
            <a:lvl3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3pPr>
            <a:lvl4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4pPr>
            <a:lvl5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13577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节页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A8B3F0C-616F-224A-B32F-9F9BF5EEE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42275" y="1244339"/>
            <a:ext cx="11265816" cy="4958996"/>
          </a:xfrm>
          <a:prstGeom prst="rect">
            <a:avLst/>
          </a:prstGeom>
        </p:spPr>
        <p:txBody>
          <a:bodyPr lIns="0" tIns="0" rIns="0" bIns="0"/>
          <a:lstStyle>
            <a:lvl1pPr marL="179100" marR="0" indent="-168007" algn="l" defTabSz="11858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6156" algn="ctr"/>
              </a:tabLst>
              <a:defRPr sz="1796" baseline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328499" marR="0" indent="-168007" algn="l" defTabSz="11858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6156" algn="ctr"/>
              </a:tabLst>
              <a:defRPr sz="1596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928812" marR="0" indent="0" algn="l" defTabSz="11858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None/>
              <a:tabLst>
                <a:tab pos="1206156" algn="ctr"/>
              </a:tabLst>
              <a:defRPr sz="1295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525010" indent="-170887">
              <a:buFont typeface="Arial" panose="020B0604020202020204" pitchFamily="34" charset="0"/>
              <a:buChar char="•"/>
              <a:tabLst>
                <a:tab pos="1206488" algn="ctr"/>
              </a:tabLst>
              <a:defRPr sz="1295" baseline="0"/>
            </a:lvl4pPr>
            <a:lvl5pPr marL="525010" indent="-170887">
              <a:buFont typeface="Arial" panose="020B0604020202020204" pitchFamily="34" charset="0"/>
              <a:buChar char="•"/>
              <a:tabLst>
                <a:tab pos="1206488" algn="ctr"/>
              </a:tabLst>
              <a:defRPr sz="1295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altLang="zh-CN" dirty="0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>
          <a:xfrm>
            <a:off x="442278" y="348791"/>
            <a:ext cx="11265817" cy="559472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2796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grpSp>
        <p:nvGrpSpPr>
          <p:cNvPr id="4" name="Group 46"/>
          <p:cNvGrpSpPr>
            <a:grpSpLocks noChangeAspect="1"/>
          </p:cNvGrpSpPr>
          <p:nvPr userDrawn="1"/>
        </p:nvGrpSpPr>
        <p:grpSpPr>
          <a:xfrm>
            <a:off x="12295786" y="2625397"/>
            <a:ext cx="1963324" cy="4233515"/>
            <a:chOff x="5343883" y="-48857"/>
            <a:chExt cx="3263588" cy="7037279"/>
          </a:xfrm>
        </p:grpSpPr>
        <p:sp>
          <p:nvSpPr>
            <p:cNvPr id="7" name="矩形 13"/>
            <p:cNvSpPr/>
            <p:nvPr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8" name="文本框 15"/>
            <p:cNvSpPr txBox="1"/>
            <p:nvPr/>
          </p:nvSpPr>
          <p:spPr>
            <a:xfrm>
              <a:off x="5352721" y="1694497"/>
              <a:ext cx="1636699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3016"/>
              <a:r>
                <a:rPr kumimoji="1" lang="zh-CN" altLang="en-US" sz="800">
                  <a:solidFill>
                    <a:srgbClr val="1B1B18"/>
                  </a:solidFill>
                  <a:cs typeface="Arial" panose="020B0604020202020204" pitchFamily="34" charset="0"/>
                </a:rPr>
                <a:t>公司辅助色</a:t>
              </a:r>
              <a:endParaRPr kumimoji="1" lang="zh-CN" altLang="en-US" sz="800" dirty="0">
                <a:solidFill>
                  <a:srgbClr val="1B1B18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" name="矩形 13"/>
            <p:cNvSpPr/>
            <p:nvPr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10" name="矩形 13"/>
            <p:cNvSpPr/>
            <p:nvPr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11" name="矩形 13"/>
            <p:cNvSpPr/>
            <p:nvPr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12" name="矩形 13"/>
            <p:cNvSpPr/>
            <p:nvPr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13" name="矩形 13"/>
            <p:cNvSpPr/>
            <p:nvPr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14" name="矩形 13"/>
            <p:cNvSpPr/>
            <p:nvPr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5C</a:t>
              </a:r>
            </a:p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15" name="文本框 15"/>
            <p:cNvSpPr txBox="1"/>
            <p:nvPr/>
          </p:nvSpPr>
          <p:spPr>
            <a:xfrm>
              <a:off x="5343883" y="-48857"/>
              <a:ext cx="1358295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3016"/>
              <a:r>
                <a:rPr kumimoji="1" lang="zh-CN" altLang="en-US" sz="800">
                  <a:solidFill>
                    <a:srgbClr val="1B1B18"/>
                  </a:solidFill>
                  <a:cs typeface="Arial" panose="020B0604020202020204" pitchFamily="34" charset="0"/>
                </a:rPr>
                <a:t>公司色</a:t>
              </a:r>
              <a:endParaRPr kumimoji="1" lang="zh-CN" altLang="en-US" sz="800" dirty="0">
                <a:solidFill>
                  <a:srgbClr val="1B1B18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6" name="矩形 13"/>
            <p:cNvSpPr/>
            <p:nvPr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6C</a:t>
              </a:r>
            </a:p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17" name="矩形 13"/>
            <p:cNvSpPr/>
            <p:nvPr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8" name="矩形 13"/>
            <p:cNvSpPr/>
            <p:nvPr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9" name="矩形 13"/>
            <p:cNvSpPr/>
            <p:nvPr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20" name="矩形 13"/>
            <p:cNvSpPr/>
            <p:nvPr/>
          </p:nvSpPr>
          <p:spPr>
            <a:xfrm>
              <a:off x="6194511" y="4866463"/>
              <a:ext cx="791510" cy="664397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21" name="矩形 13"/>
            <p:cNvSpPr/>
            <p:nvPr/>
          </p:nvSpPr>
          <p:spPr>
            <a:xfrm>
              <a:off x="6192274" y="4134866"/>
              <a:ext cx="791510" cy="664397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22" name="矩形 13"/>
            <p:cNvSpPr/>
            <p:nvPr/>
          </p:nvSpPr>
          <p:spPr>
            <a:xfrm>
              <a:off x="6192274" y="5596166"/>
              <a:ext cx="791510" cy="664397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23" name="矩形 13"/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24" name="矩形 13"/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25" name="矩形 13"/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26" name="矩形 13"/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27" name="矩形 13"/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1B1B18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28" name="矩形 13"/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29" name="矩形 13"/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30" name="矩形 13"/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31" name="矩形 13"/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32" name="矩形 13"/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33" name="矩形 13"/>
            <p:cNvSpPr/>
            <p:nvPr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34" name="矩形 13"/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35" name="矩形 13"/>
            <p:cNvSpPr/>
            <p:nvPr/>
          </p:nvSpPr>
          <p:spPr>
            <a:xfrm>
              <a:off x="7806130" y="3415851"/>
              <a:ext cx="791510" cy="664397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1B1B18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36" name="矩形 13"/>
            <p:cNvSpPr/>
            <p:nvPr/>
          </p:nvSpPr>
          <p:spPr>
            <a:xfrm>
              <a:off x="7815961" y="4866463"/>
              <a:ext cx="791510" cy="664397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37" name="矩形 13"/>
            <p:cNvSpPr/>
            <p:nvPr/>
          </p:nvSpPr>
          <p:spPr>
            <a:xfrm>
              <a:off x="7813724" y="4134866"/>
              <a:ext cx="791510" cy="664397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38" name="矩形 13"/>
            <p:cNvSpPr/>
            <p:nvPr/>
          </p:nvSpPr>
          <p:spPr>
            <a:xfrm>
              <a:off x="7813724" y="5596166"/>
              <a:ext cx="791510" cy="664397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190/23/238</a:t>
              </a:r>
            </a:p>
          </p:txBody>
        </p:sp>
        <p:sp>
          <p:nvSpPr>
            <p:cNvPr id="39" name="矩形 13"/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40" name="矩形 13"/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41" name="矩形 13"/>
            <p:cNvSpPr/>
            <p:nvPr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35/24/21</a:t>
              </a:r>
            </a:p>
          </p:txBody>
        </p:sp>
        <p:sp>
          <p:nvSpPr>
            <p:cNvPr id="42" name="矩形 13"/>
            <p:cNvSpPr/>
            <p:nvPr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43" name="矩形 13"/>
            <p:cNvSpPr/>
            <p:nvPr/>
          </p:nvSpPr>
          <p:spPr>
            <a:xfrm>
              <a:off x="6450318" y="6324025"/>
              <a:ext cx="513579" cy="664397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44" name="矩形 13"/>
            <p:cNvSpPr/>
            <p:nvPr/>
          </p:nvSpPr>
          <p:spPr>
            <a:xfrm>
              <a:off x="6998296" y="6324025"/>
              <a:ext cx="513579" cy="664397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45" name="矩形 13"/>
            <p:cNvSpPr/>
            <p:nvPr/>
          </p:nvSpPr>
          <p:spPr>
            <a:xfrm>
              <a:off x="7541580" y="6324025"/>
              <a:ext cx="513579" cy="664397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46" name="矩形 13"/>
            <p:cNvSpPr/>
            <p:nvPr/>
          </p:nvSpPr>
          <p:spPr>
            <a:xfrm>
              <a:off x="8083608" y="6324025"/>
              <a:ext cx="513579" cy="66439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 defTabSz="913016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1B1B18"/>
                  </a:solidFill>
                  <a:ea typeface="Arial" charset="0"/>
                  <a:cs typeface="Arial" charset="0"/>
                </a:rPr>
                <a:t>25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61732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pos="3841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303">
          <p15:clr>
            <a:srgbClr val="FBAE40"/>
          </p15:clr>
        </p15:guide>
        <p15:guide id="4" pos="7380">
          <p15:clr>
            <a:srgbClr val="FBAE40"/>
          </p15:clr>
        </p15:guide>
        <p15:guide id="5" orient="horz" pos="640">
          <p15:clr>
            <a:srgbClr val="FBAE40"/>
          </p15:clr>
        </p15:guide>
        <p15:guide id="6" orient="horz" pos="3952">
          <p15:clr>
            <a:srgbClr val="FBAE40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5"/>
            <a:ext cx="10740640" cy="9934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ts val="3427"/>
              </a:lnSpc>
              <a:spcBef>
                <a:spcPts val="0"/>
              </a:spcBef>
              <a:buNone/>
              <a:defRPr sz="3198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411" indent="0" algn="ctr">
              <a:buNone/>
              <a:defRPr sz="2596"/>
            </a:lvl2pPr>
            <a:lvl3pPr marL="1186818" indent="0" algn="ctr">
              <a:buNone/>
              <a:defRPr sz="2336"/>
            </a:lvl3pPr>
            <a:lvl4pPr marL="1780230" indent="0" algn="ctr">
              <a:buNone/>
              <a:defRPr sz="2078"/>
            </a:lvl4pPr>
            <a:lvl5pPr marL="2373639" indent="0" algn="ctr">
              <a:buNone/>
              <a:defRPr sz="2078"/>
            </a:lvl5pPr>
            <a:lvl6pPr marL="2967048" indent="0" algn="ctr">
              <a:buNone/>
              <a:defRPr sz="2078"/>
            </a:lvl6pPr>
            <a:lvl7pPr marL="3560457" indent="0" algn="ctr">
              <a:buNone/>
              <a:defRPr sz="2078"/>
            </a:lvl7pPr>
            <a:lvl8pPr marL="4153869" indent="0" algn="ctr">
              <a:buNone/>
              <a:defRPr sz="2078"/>
            </a:lvl8pPr>
            <a:lvl9pPr marL="4747276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910" y="1501989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2363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7423" algn="ctr"/>
              </a:tabLst>
              <a:defRPr sz="1798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417" indent="-171018">
              <a:buFont typeface="Arial" panose="020B0604020202020204" pitchFamily="34" charset="0"/>
              <a:buChar char="•"/>
              <a:tabLst>
                <a:tab pos="1207423" algn="ctr"/>
              </a:tabLst>
              <a:defRPr sz="1298" baseline="0"/>
            </a:lvl2pPr>
            <a:lvl3pPr marL="525417" indent="-171018">
              <a:buFont typeface="Arial" panose="020B0604020202020204" pitchFamily="34" charset="0"/>
              <a:buChar char="•"/>
              <a:tabLst>
                <a:tab pos="1207423" algn="ctr"/>
              </a:tabLst>
              <a:defRPr sz="1298" baseline="0"/>
            </a:lvl3pPr>
            <a:lvl4pPr marL="525417" indent="-171018">
              <a:buFont typeface="Arial" panose="020B0604020202020204" pitchFamily="34" charset="0"/>
              <a:buChar char="•"/>
              <a:tabLst>
                <a:tab pos="1207423" algn="ctr"/>
              </a:tabLst>
              <a:defRPr sz="1298" baseline="0"/>
            </a:lvl4pPr>
            <a:lvl5pPr marL="525417" indent="-171018">
              <a:buFont typeface="Arial" panose="020B0604020202020204" pitchFamily="34" charset="0"/>
              <a:buChar char="•"/>
              <a:tabLst>
                <a:tab pos="1207423" algn="ctr"/>
              </a:tabLst>
              <a:defRPr sz="1298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60047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837589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58530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27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62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6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52343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31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62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6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A8B3F0C-616F-224A-B32F-9F9BF5EEE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26022" y="1512877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79316" marR="0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7605" algn="ctr"/>
              </a:tabLst>
              <a:defRPr sz="17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328894" marR="0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7605" algn="ctr"/>
              </a:tabLst>
              <a:defRPr sz="1599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1098136" marR="0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207605" algn="ctr"/>
              </a:tabLst>
              <a:defRPr sz="1298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4pPr>
            <a:lvl5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  <a:p>
            <a:pPr marL="328894" marR="0" lvl="1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605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136" marR="0" lvl="2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605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136" marR="0" lvl="2" indent="-168208" algn="l" defTabSz="118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605" algn="ctr"/>
              </a:tabLst>
              <a:defRPr/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5099298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模板刷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834" y="520852"/>
            <a:ext cx="11034000" cy="54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 defTabSz="913851" rtl="0" eaLnBrk="1" fontAlgn="base" latinLnBrk="0" hangingPunct="1">
              <a:lnSpc>
                <a:spcPts val="3427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None/>
              <a:defRPr lang="en-US" sz="2797" b="1" kern="0" dirty="0">
                <a:solidFill>
                  <a:srgbClr val="C00000"/>
                </a:solidFill>
                <a:latin typeface="Huawei Sans" panose="020B0604020202020204"/>
                <a:ea typeface="微软雅黑"/>
                <a:cs typeface="+mn-ea"/>
              </a:defRPr>
            </a:lvl1pPr>
            <a:lvl2pPr marL="593468" indent="0" algn="ctr">
              <a:buNone/>
              <a:defRPr sz="2597"/>
            </a:lvl2pPr>
            <a:lvl3pPr marL="1186937" indent="0" algn="ctr">
              <a:buNone/>
              <a:defRPr sz="2335"/>
            </a:lvl3pPr>
            <a:lvl4pPr marL="1780409" indent="0" algn="ctr">
              <a:buNone/>
              <a:defRPr sz="2079"/>
            </a:lvl4pPr>
            <a:lvl5pPr marL="2373878" indent="0" algn="ctr">
              <a:buNone/>
              <a:defRPr sz="2079"/>
            </a:lvl5pPr>
            <a:lvl6pPr marL="2967344" indent="0" algn="ctr">
              <a:buNone/>
              <a:defRPr sz="2079"/>
            </a:lvl6pPr>
            <a:lvl7pPr marL="3560812" indent="0" algn="ctr">
              <a:buNone/>
              <a:defRPr sz="2079"/>
            </a:lvl7pPr>
            <a:lvl8pPr marL="4154283" indent="0" algn="ctr">
              <a:buNone/>
              <a:defRPr sz="2079"/>
            </a:lvl8pPr>
            <a:lvl9pPr marL="4747750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008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2799" b="1" baseline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62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6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858405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2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8"/>
              </a:lnSpc>
              <a:spcBef>
                <a:spcPts val="0"/>
              </a:spcBef>
              <a:buNone/>
              <a:defRPr sz="2798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425" indent="0" algn="ctr">
              <a:buNone/>
              <a:defRPr sz="2596"/>
            </a:lvl2pPr>
            <a:lvl3pPr marL="1186848" indent="0" algn="ctr">
              <a:buNone/>
              <a:defRPr sz="2336"/>
            </a:lvl3pPr>
            <a:lvl4pPr marL="1780274" indent="0" algn="ctr">
              <a:buNone/>
              <a:defRPr sz="2077"/>
            </a:lvl4pPr>
            <a:lvl5pPr marL="2373698" indent="0" algn="ctr">
              <a:buNone/>
              <a:defRPr sz="2077"/>
            </a:lvl5pPr>
            <a:lvl6pPr marL="2967122" indent="0" algn="ctr">
              <a:buNone/>
              <a:defRPr sz="2077"/>
            </a:lvl6pPr>
            <a:lvl7pPr marL="3560546" indent="0" algn="ctr">
              <a:buNone/>
              <a:defRPr sz="2077"/>
            </a:lvl7pPr>
            <a:lvl8pPr marL="4153972" indent="0" algn="ctr">
              <a:buNone/>
              <a:defRPr sz="2077"/>
            </a:lvl8pPr>
            <a:lvl9pPr marL="4747395" indent="0" algn="ctr">
              <a:buNone/>
              <a:defRPr sz="2077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90344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9011" y="170351"/>
            <a:ext cx="11235233" cy="93588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773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96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6874100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智能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62AA4863-E1EF-3342-A8CB-ECD4FD06CE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195303EA-8491-464F-99A0-67F948701C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412816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6DBC59C-CE55-E340-A3AE-F88AAF0D75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4" name="L 形 17">
            <a:extLst>
              <a:ext uri="{FF2B5EF4-FFF2-40B4-BE49-F238E27FC236}">
                <a16:creationId xmlns:a16="http://schemas.microsoft.com/office/drawing/2014/main" id="{3049C48A-4CAE-8940-8A29-89DE0543DF4C}"/>
              </a:ext>
            </a:extLst>
          </p:cNvPr>
          <p:cNvSpPr/>
          <p:nvPr userDrawn="1"/>
        </p:nvSpPr>
        <p:spPr>
          <a:xfrm rot="5400000">
            <a:off x="5369529" y="2370740"/>
            <a:ext cx="744262" cy="762208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/>
          </a:p>
        </p:txBody>
      </p:sp>
    </p:spTree>
    <p:extLst>
      <p:ext uri="{BB962C8B-B14F-4D97-AF65-F5344CB8AC3E}">
        <p14:creationId xmlns:p14="http://schemas.microsoft.com/office/powerpoint/2010/main" val="35144873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003479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2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14704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2806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A8B3F0C-616F-224A-B32F-9F9BF5EEE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26021" y="1512875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79388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 sz="1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329026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8088" algn="ctr"/>
              </a:tabLst>
              <a:defRPr sz="1600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1098575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208088" algn="ctr"/>
              </a:tabLst>
              <a:defRPr sz="1299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4pPr>
            <a:lvl5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  <a:p>
            <a:pPr marL="329026" marR="0" lvl="1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75" marR="0" lvl="2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75" marR="0" lvl="2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4817434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08638" y="608400"/>
            <a:ext cx="10973485" cy="705600"/>
          </a:xfrm>
        </p:spPr>
        <p:txBody>
          <a:bodyPr vert="horz" lIns="90000" tIns="46800" rIns="90000" bIns="46800" rtlCol="0" anchor="ctr" anchorCtr="0">
            <a:normAutofit/>
          </a:bodyPr>
          <a:lstStyle/>
          <a:p>
            <a:pPr lvl="0"/>
            <a:r>
              <a:rPr dirty="0">
                <a:sym typeface="+mn-ea"/>
              </a:rPr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08638" y="1490400"/>
            <a:ext cx="10973485" cy="4759200"/>
          </a:xfrm>
        </p:spPr>
        <p:txBody>
          <a:bodyPr vert="horz" lIns="90000" tIns="46800" rIns="90000" bIns="46800" rtlCol="0">
            <a:normAutofit/>
          </a:bodyPr>
          <a:lstStyle/>
          <a:p>
            <a:pPr lvl="0"/>
            <a:r>
              <a:rPr dirty="0">
                <a:sym typeface="+mn-ea"/>
              </a:rPr>
              <a:t>单击此处编辑母版文本样式</a:t>
            </a:r>
          </a:p>
          <a:p>
            <a:pPr lvl="1"/>
            <a:r>
              <a:rPr dirty="0">
                <a:sym typeface="+mn-ea"/>
              </a:rPr>
              <a:t>第二级</a:t>
            </a:r>
          </a:p>
          <a:p>
            <a:pPr lvl="2"/>
            <a:r>
              <a:rPr dirty="0">
                <a:sym typeface="+mn-ea"/>
              </a:rPr>
              <a:t>第三级</a:t>
            </a:r>
          </a:p>
          <a:p>
            <a:pPr lvl="3"/>
            <a:r>
              <a:rPr dirty="0">
                <a:sym typeface="+mn-ea"/>
              </a:rPr>
              <a:t>第四级</a:t>
            </a:r>
          </a:p>
          <a:p>
            <a:pPr lvl="4"/>
            <a:r>
              <a:rPr dirty="0">
                <a:sym typeface="+mn-ea"/>
              </a:rPr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612239" y="6314400"/>
            <a:ext cx="2701055" cy="316800"/>
          </a:xfrm>
        </p:spPr>
        <p:txBody>
          <a:bodyPr/>
          <a:lstStyle/>
          <a:p>
            <a:pPr defTabSz="914411"/>
            <a:fld id="{760FBDFE-C587-4B4C-A407-44438C67B59E}" type="datetimeFigureOut">
              <a:rPr lang="zh-CN" altLang="en-US" smtClean="0">
                <a:solidFill>
                  <a:srgbClr val="000000"/>
                </a:solidFill>
              </a:rPr>
              <a:pPr defTabSz="914411"/>
              <a:t>2022/5/13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4117608" y="6314400"/>
            <a:ext cx="3961547" cy="316800"/>
          </a:xfrm>
        </p:spPr>
        <p:txBody>
          <a:bodyPr/>
          <a:lstStyle/>
          <a:p>
            <a:pPr defTabSz="914411"/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8881068" y="6314400"/>
            <a:ext cx="2701055" cy="316800"/>
          </a:xfrm>
        </p:spPr>
        <p:txBody>
          <a:bodyPr/>
          <a:lstStyle/>
          <a:p>
            <a:pPr defTabSz="914411"/>
            <a:fld id="{49AE70B2-8BF9-45C0-BB95-33D1B9D3A854}" type="slidenum">
              <a:rPr lang="zh-CN" altLang="en-US" smtClean="0">
                <a:solidFill>
                  <a:srgbClr val="000000"/>
                </a:solidFill>
              </a:rPr>
              <a:pPr defTabSz="914411"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2618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20363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7603485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模板刷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833" y="520852"/>
            <a:ext cx="11034000" cy="54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 defTabSz="914217" rtl="0" eaLnBrk="1" fontAlgn="base" latinLnBrk="0" hangingPunct="1">
              <a:lnSpc>
                <a:spcPts val="3428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None/>
              <a:defRPr lang="en-US" sz="2798" b="1" kern="0" dirty="0">
                <a:solidFill>
                  <a:srgbClr val="C00000"/>
                </a:solidFill>
                <a:latin typeface="Huawei Sans" panose="020B0604020202020204"/>
                <a:ea typeface="微软雅黑"/>
                <a:cs typeface="+mn-ea"/>
              </a:defRPr>
            </a:lvl1pPr>
            <a:lvl2pPr marL="593705" indent="0" algn="ctr">
              <a:buNone/>
              <a:defRPr sz="2598"/>
            </a:lvl2pPr>
            <a:lvl3pPr marL="1187412" indent="0" algn="ctr">
              <a:buNone/>
              <a:defRPr sz="2336"/>
            </a:lvl3pPr>
            <a:lvl4pPr marL="1781121" indent="0" algn="ctr">
              <a:buNone/>
              <a:defRPr sz="2080"/>
            </a:lvl4pPr>
            <a:lvl5pPr marL="2374828" indent="0" algn="ctr">
              <a:buNone/>
              <a:defRPr sz="2080"/>
            </a:lvl5pPr>
            <a:lvl6pPr marL="2968531" indent="0" algn="ctr">
              <a:buNone/>
              <a:defRPr sz="2080"/>
            </a:lvl6pPr>
            <a:lvl7pPr marL="3562237" indent="0" algn="ctr">
              <a:buNone/>
              <a:defRPr sz="2080"/>
            </a:lvl7pPr>
            <a:lvl8pPr marL="4155945" indent="0" algn="ctr">
              <a:buNone/>
              <a:defRPr sz="2080"/>
            </a:lvl8pPr>
            <a:lvl9pPr marL="4749650" indent="0" algn="ctr">
              <a:buNone/>
              <a:defRPr sz="208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9049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55406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2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908" y="1193075"/>
            <a:ext cx="10733557" cy="4999374"/>
          </a:xfrm>
          <a:prstGeom prst="rect">
            <a:avLst/>
          </a:prstGeom>
        </p:spPr>
        <p:txBody>
          <a:bodyPr lIns="0" tIns="0" rIns="0" bIns="0"/>
          <a:lstStyle>
            <a:lvl1pPr marL="12373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8420" algn="ctr"/>
              </a:tabLst>
              <a:defRPr sz="1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2pPr>
            <a:lvl3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3pPr>
            <a:lvl4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4pPr>
            <a:lvl5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78396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2399" baseline="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93662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6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en-US" altLang="zh-CN" dirty="0"/>
              <a:t>Ar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710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2800" b="1" baseline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747114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创新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L 形 8"/>
          <p:cNvSpPr/>
          <p:nvPr userDrawn="1"/>
        </p:nvSpPr>
        <p:spPr>
          <a:xfrm rot="5400000">
            <a:off x="5945516" y="2323519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B908F03-BBCC-164B-BE54-2E836D6E7C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A3BE9F9B-07D9-DD4C-9CEF-250804A4145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3A299E5-0026-5A42-88AA-B3A7F29D3A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749409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23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62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6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909" y="1501989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2368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7937" algn="ctr"/>
              </a:tabLst>
              <a:defRPr sz="17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2pPr>
            <a:lvl3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3pPr>
            <a:lvl4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4pPr>
            <a:lvl5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25257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27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62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6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79225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0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000" y="6319872"/>
            <a:ext cx="1269075" cy="27115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916955" y="6356939"/>
            <a:ext cx="1463467" cy="242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12"/>
            <a:r>
              <a:rPr lang="en-US" sz="974" dirty="0">
                <a:solidFill>
                  <a:srgbClr val="1D1D1B"/>
                </a:solidFill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695326" y="6403223"/>
            <a:ext cx="499729" cy="1502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493">
              <a:defRPr/>
            </a:pPr>
            <a:fld id="{C3837181-38C6-AD4F-B8BA-B444770388BB}" type="slidenum">
              <a:rPr lang="en-US" sz="974" smtClean="0">
                <a:solidFill>
                  <a:srgbClr val="1D1D1B"/>
                </a:solidFill>
                <a:cs typeface="Arial" panose="020B0604020202020204" pitchFamily="34" charset="0"/>
              </a:rPr>
              <a:pPr defTabSz="890493">
                <a:defRPr/>
              </a:pPr>
              <a:t>‹#›</a:t>
            </a:fld>
            <a:endParaRPr lang="en-US" sz="974" dirty="0">
              <a:solidFill>
                <a:srgbClr val="1D1D1B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5489916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5890215" y="6536534"/>
            <a:ext cx="414643" cy="353087"/>
          </a:xfrm>
          <a:prstGeom prst="rect">
            <a:avLst/>
          </a:prstGeom>
        </p:spPr>
        <p:txBody>
          <a:bodyPr/>
          <a:lstStyle/>
          <a:p>
            <a:pPr defTabSz="914112"/>
            <a:fld id="{86CB4B4D-7CA3-9044-876B-883B54F8677D}" type="slidenum">
              <a:rPr lang="en-US" altLang="zh-CN" smtClean="0">
                <a:solidFill>
                  <a:srgbClr val="1D1D1A"/>
                </a:solidFill>
              </a:rPr>
              <a:pPr defTabSz="914112"/>
              <a:t>‹#›</a:t>
            </a:fld>
            <a:endParaRPr lang="en-US" altLang="zh-CN">
              <a:solidFill>
                <a:srgbClr val="1D1D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6708726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31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62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6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909" y="1501989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2368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7937" algn="ctr"/>
              </a:tabLst>
              <a:defRPr sz="17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2pPr>
            <a:lvl3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3pPr>
            <a:lvl4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4pPr>
            <a:lvl5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87769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007927" y="1628789"/>
            <a:ext cx="10180910" cy="4194175"/>
          </a:xfrm>
          <a:prstGeom prst="rect">
            <a:avLst/>
          </a:prstGeom>
        </p:spPr>
        <p:txBody>
          <a:bodyPr lIns="91356" tIns="45681" rIns="91356" bIns="45681"/>
          <a:lstStyle>
            <a:lvl1pPr>
              <a:defRPr>
                <a:latin typeface="微软雅黑" pitchFamily="34" charset="-122"/>
                <a:ea typeface="微软雅黑" pitchFamily="34" charset="-122"/>
              </a:defRPr>
            </a:lvl1pPr>
            <a:lvl2pPr>
              <a:defRPr>
                <a:latin typeface="微软雅黑" pitchFamily="34" charset="-122"/>
                <a:ea typeface="微软雅黑" pitchFamily="34" charset="-122"/>
              </a:defRPr>
            </a:lvl2pPr>
            <a:lvl3pPr>
              <a:defRPr>
                <a:latin typeface="微软雅黑" pitchFamily="34" charset="-122"/>
                <a:ea typeface="微软雅黑" pitchFamily="34" charset="-122"/>
              </a:defRPr>
            </a:lvl3pPr>
            <a:lvl4pPr>
              <a:defRPr>
                <a:latin typeface="微软雅黑" pitchFamily="34" charset="-122"/>
                <a:ea typeface="微软雅黑" pitchFamily="34" charset="-122"/>
              </a:defRPr>
            </a:lvl4pPr>
            <a:lvl5pPr>
              <a:defRPr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Rectangle 5"/>
          <p:cNvSpPr>
            <a:spLocks noChangeArrowheads="1"/>
          </p:cNvSpPr>
          <p:nvPr userDrawn="1"/>
        </p:nvSpPr>
        <p:spPr bwMode="auto">
          <a:xfrm>
            <a:off x="8480410" y="6456191"/>
            <a:ext cx="398981" cy="245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defTabSz="914112" eaLnBrk="0" hangingPunct="0">
              <a:lnSpc>
                <a:spcPct val="85000"/>
              </a:lnSpc>
            </a:pPr>
            <a:r>
              <a:rPr lang="de-DE" altLang="zh-CN" sz="1599" dirty="0">
                <a:solidFill>
                  <a:srgbClr val="000000">
                    <a:lumMod val="65000"/>
                    <a:lumOff val="35000"/>
                  </a:srgbClr>
                </a:solidFill>
                <a:latin typeface="FrutigerNext LT Light" pitchFamily="34" charset="0"/>
                <a:ea typeface="MS PGothic" pitchFamily="34" charset="-128"/>
              </a:rPr>
              <a:t> </a:t>
            </a:r>
            <a:fld id="{A4C34F22-587E-473D-9099-376F4F013A30}" type="slidenum">
              <a:rPr lang="de-DE" altLang="zh-CN" sz="1599">
                <a:solidFill>
                  <a:srgbClr val="000000">
                    <a:lumMod val="65000"/>
                    <a:lumOff val="35000"/>
                  </a:srgbClr>
                </a:solidFill>
                <a:latin typeface="FrutigerNext LT Light" pitchFamily="34" charset="0"/>
                <a:ea typeface="MS PGothic" pitchFamily="34" charset="-128"/>
              </a:rPr>
              <a:pPr defTabSz="914112" eaLnBrk="0" hangingPunct="0">
                <a:lnSpc>
                  <a:spcPct val="85000"/>
                </a:lnSpc>
              </a:pPr>
              <a:t>‹#›</a:t>
            </a:fld>
            <a:endParaRPr lang="en-GB" altLang="zh-CN" sz="1599" dirty="0">
              <a:solidFill>
                <a:srgbClr val="000000">
                  <a:lumMod val="65000"/>
                  <a:lumOff val="35000"/>
                </a:srgbClr>
              </a:solidFill>
              <a:latin typeface="FrutigerNext LT Light" pitchFamily="34" charset="0"/>
              <a:ea typeface="MS PGothic" pitchFamily="34" charset="-128"/>
            </a:endParaRP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1007927" y="325970"/>
            <a:ext cx="10180910" cy="8720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6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0025" rIns="80052" bIns="40025" numCol="1" anchor="ctr" anchorCtr="0" compatLnSpc="1">
            <a:prstTxWarp prst="textNoShape">
              <a:avLst/>
            </a:prstTxWarp>
          </a:bodyPr>
          <a:lstStyle>
            <a:lvl1pPr>
              <a:defRPr sz="4265">
                <a:latin typeface="微软雅黑" pitchFamily="34" charset="-122"/>
                <a:ea typeface="微软雅黑" pitchFamily="34" charset="-122"/>
              </a:defRPr>
            </a:lvl1pPr>
          </a:lstStyle>
          <a:p>
            <a:pPr lvl="0"/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1851828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839" y="275169"/>
            <a:ext cx="10977087" cy="1142999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09839" y="1600204"/>
            <a:ext cx="10977087" cy="45254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xfrm>
            <a:off x="609840" y="6356353"/>
            <a:ext cx="2845912" cy="36618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112">
              <a:defRPr/>
            </a:pPr>
            <a:fld id="{50885813-81B7-4417-9D80-AD8BBBE4984B}" type="slidenum">
              <a:rPr lang="de-DE" altLang="zh-CN" smtClean="0">
                <a:solidFill>
                  <a:prstClr val="black"/>
                </a:solidFill>
              </a:rPr>
              <a:pPr defTabSz="914112">
                <a:defRPr/>
              </a:pPr>
              <a:t>‹#›</a:t>
            </a:fld>
            <a:endParaRPr lang="en-GB" altLang="zh-CN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761391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8"/>
              </a:lnSpc>
              <a:spcBef>
                <a:spcPts val="0"/>
              </a:spcBef>
              <a:buNone/>
              <a:defRPr sz="3198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425" indent="0" algn="ctr">
              <a:buNone/>
              <a:defRPr sz="2596"/>
            </a:lvl2pPr>
            <a:lvl3pPr marL="1186848" indent="0" algn="ctr">
              <a:buNone/>
              <a:defRPr sz="2336"/>
            </a:lvl3pPr>
            <a:lvl4pPr marL="1780274" indent="0" algn="ctr">
              <a:buNone/>
              <a:defRPr sz="2077"/>
            </a:lvl4pPr>
            <a:lvl5pPr marL="2373698" indent="0" algn="ctr">
              <a:buNone/>
              <a:defRPr sz="2077"/>
            </a:lvl5pPr>
            <a:lvl6pPr marL="2967122" indent="0" algn="ctr">
              <a:buNone/>
              <a:defRPr sz="2077"/>
            </a:lvl6pPr>
            <a:lvl7pPr marL="3560546" indent="0" algn="ctr">
              <a:buNone/>
              <a:defRPr sz="2077"/>
            </a:lvl7pPr>
            <a:lvl8pPr marL="4153972" indent="0" algn="ctr">
              <a:buNone/>
              <a:defRPr sz="2077"/>
            </a:lvl8pPr>
            <a:lvl9pPr marL="4747395" indent="0" algn="ctr">
              <a:buNone/>
              <a:defRPr sz="2077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910" y="1501989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2363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7454" algn="ctr"/>
              </a:tabLst>
              <a:defRPr sz="1798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430" indent="-171023">
              <a:buFont typeface="Arial" panose="020B0604020202020204" pitchFamily="34" charset="0"/>
              <a:buChar char="•"/>
              <a:tabLst>
                <a:tab pos="1207454" algn="ctr"/>
              </a:tabLst>
              <a:defRPr sz="1297" baseline="0"/>
            </a:lvl2pPr>
            <a:lvl3pPr marL="525430" indent="-171023">
              <a:buFont typeface="Arial" panose="020B0604020202020204" pitchFamily="34" charset="0"/>
              <a:buChar char="•"/>
              <a:tabLst>
                <a:tab pos="1207454" algn="ctr"/>
              </a:tabLst>
              <a:defRPr sz="1297" baseline="0"/>
            </a:lvl3pPr>
            <a:lvl4pPr marL="525430" indent="-171023">
              <a:buFont typeface="Arial" panose="020B0604020202020204" pitchFamily="34" charset="0"/>
              <a:buChar char="•"/>
              <a:tabLst>
                <a:tab pos="1207454" algn="ctr"/>
              </a:tabLst>
              <a:defRPr sz="1297" baseline="0"/>
            </a:lvl4pPr>
            <a:lvl5pPr marL="525430" indent="-171023">
              <a:buFont typeface="Arial" panose="020B0604020202020204" pitchFamily="34" charset="0"/>
              <a:buChar char="•"/>
              <a:tabLst>
                <a:tab pos="1207454" algn="ctr"/>
              </a:tabLst>
              <a:defRPr sz="1297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99224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56949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9010" y="170349"/>
            <a:ext cx="11235233" cy="93588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822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97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3470903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攀登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8" name="L 形 7"/>
          <p:cNvSpPr/>
          <p:nvPr userDrawn="1"/>
        </p:nvSpPr>
        <p:spPr>
          <a:xfrm rot="5400000">
            <a:off x="7929967" y="1657555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6BB7B2F8-0AF7-D04F-81DD-52FDB6B732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62D1BCC-0781-514D-8FE8-12F4AF64BC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537370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14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929608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2703602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8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7" y="451863"/>
            <a:ext cx="10740513" cy="44456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lnSpc>
                <a:spcPts val="3427"/>
              </a:lnSpc>
              <a:spcBef>
                <a:spcPts val="0"/>
              </a:spcBef>
              <a:buNone/>
              <a:defRPr sz="2398" b="1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411" indent="0" algn="ctr">
              <a:buNone/>
              <a:defRPr sz="2596"/>
            </a:lvl2pPr>
            <a:lvl3pPr marL="1186818" indent="0" algn="ctr">
              <a:buNone/>
              <a:defRPr sz="2336"/>
            </a:lvl3pPr>
            <a:lvl4pPr marL="1780230" indent="0" algn="ctr">
              <a:buNone/>
              <a:defRPr sz="2078"/>
            </a:lvl4pPr>
            <a:lvl5pPr marL="2373639" indent="0" algn="ctr">
              <a:buNone/>
              <a:defRPr sz="2078"/>
            </a:lvl5pPr>
            <a:lvl6pPr marL="2967048" indent="0" algn="ctr">
              <a:buNone/>
              <a:defRPr sz="2078"/>
            </a:lvl6pPr>
            <a:lvl7pPr marL="3560457" indent="0" algn="ctr">
              <a:buNone/>
              <a:defRPr sz="2078"/>
            </a:lvl7pPr>
            <a:lvl8pPr marL="4153869" indent="0" algn="ctr">
              <a:buNone/>
              <a:defRPr sz="2078"/>
            </a:lvl8pPr>
            <a:lvl9pPr marL="4747276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21390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5"/>
            <a:ext cx="10740640" cy="9934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ts val="3427"/>
              </a:lnSpc>
              <a:spcBef>
                <a:spcPts val="0"/>
              </a:spcBef>
              <a:buNone/>
              <a:defRPr sz="3198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411" indent="0" algn="ctr">
              <a:buNone/>
              <a:defRPr sz="2596"/>
            </a:lvl2pPr>
            <a:lvl3pPr marL="1186818" indent="0" algn="ctr">
              <a:buNone/>
              <a:defRPr sz="2336"/>
            </a:lvl3pPr>
            <a:lvl4pPr marL="1780230" indent="0" algn="ctr">
              <a:buNone/>
              <a:defRPr sz="2078"/>
            </a:lvl4pPr>
            <a:lvl5pPr marL="2373639" indent="0" algn="ctr">
              <a:buNone/>
              <a:defRPr sz="2078"/>
            </a:lvl5pPr>
            <a:lvl6pPr marL="2967048" indent="0" algn="ctr">
              <a:buNone/>
              <a:defRPr sz="2078"/>
            </a:lvl6pPr>
            <a:lvl7pPr marL="3560457" indent="0" algn="ctr">
              <a:buNone/>
              <a:defRPr sz="2078"/>
            </a:lvl7pPr>
            <a:lvl8pPr marL="4153869" indent="0" algn="ctr">
              <a:buNone/>
              <a:defRPr sz="2078"/>
            </a:lvl8pPr>
            <a:lvl9pPr marL="4747276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910" y="1501989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2363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7423" algn="ctr"/>
              </a:tabLst>
              <a:defRPr sz="1798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417" indent="-171018">
              <a:buFont typeface="Arial" panose="020B0604020202020204" pitchFamily="34" charset="0"/>
              <a:buChar char="•"/>
              <a:tabLst>
                <a:tab pos="1207423" algn="ctr"/>
              </a:tabLst>
              <a:defRPr sz="1298" baseline="0"/>
            </a:lvl2pPr>
            <a:lvl3pPr marL="525417" indent="-171018">
              <a:buFont typeface="Arial" panose="020B0604020202020204" pitchFamily="34" charset="0"/>
              <a:buChar char="•"/>
              <a:tabLst>
                <a:tab pos="1207423" algn="ctr"/>
              </a:tabLst>
              <a:defRPr sz="1298" baseline="0"/>
            </a:lvl3pPr>
            <a:lvl4pPr marL="525417" indent="-171018">
              <a:buFont typeface="Arial" panose="020B0604020202020204" pitchFamily="34" charset="0"/>
              <a:buChar char="•"/>
              <a:tabLst>
                <a:tab pos="1207423" algn="ctr"/>
              </a:tabLst>
              <a:defRPr sz="1298" baseline="0"/>
            </a:lvl4pPr>
            <a:lvl5pPr marL="525417" indent="-171018">
              <a:buFont typeface="Arial" panose="020B0604020202020204" pitchFamily="34" charset="0"/>
              <a:buChar char="•"/>
              <a:tabLst>
                <a:tab pos="1207423" algn="ctr"/>
              </a:tabLst>
              <a:defRPr sz="1298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9046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16187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A165049A-7693-0341-8E5F-981070F13F6D}"/>
              </a:ext>
            </a:extLst>
          </p:cNvPr>
          <p:cNvSpPr txBox="1"/>
          <p:nvPr userDrawn="1"/>
        </p:nvSpPr>
        <p:spPr>
          <a:xfrm>
            <a:off x="1013239" y="6419238"/>
            <a:ext cx="1245124" cy="2399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74077"/>
            <a:r>
              <a:rPr lang="en-US" sz="959" dirty="0">
                <a:solidFill>
                  <a:srgbClr val="FFFFFF"/>
                </a:solidFill>
                <a:cs typeface="Arial" panose="020B0604020202020204" pitchFamily="34" charset="0"/>
              </a:rPr>
              <a:t>Huawei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296691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5127" y="163526"/>
            <a:ext cx="10740640" cy="750874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ts val="3428"/>
              </a:lnSpc>
              <a:spcBef>
                <a:spcPts val="0"/>
              </a:spcBef>
              <a:buNone/>
              <a:defRPr sz="3198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426" indent="0" algn="ctr">
              <a:buNone/>
              <a:defRPr sz="2596"/>
            </a:lvl2pPr>
            <a:lvl3pPr marL="1186847" indent="0" algn="ctr">
              <a:buNone/>
              <a:defRPr sz="2337"/>
            </a:lvl3pPr>
            <a:lvl4pPr marL="1780275" indent="0" algn="ctr">
              <a:buNone/>
              <a:defRPr sz="2078"/>
            </a:lvl4pPr>
            <a:lvl5pPr marL="2373697" indent="0" algn="ctr">
              <a:buNone/>
              <a:defRPr sz="2078"/>
            </a:lvl5pPr>
            <a:lvl6pPr marL="2967122" indent="0" algn="ctr">
              <a:buNone/>
              <a:defRPr sz="2078"/>
            </a:lvl6pPr>
            <a:lvl7pPr marL="3560546" indent="0" algn="ctr">
              <a:buNone/>
              <a:defRPr sz="2078"/>
            </a:lvl7pPr>
            <a:lvl8pPr marL="4153972" indent="0" algn="ctr">
              <a:buNone/>
              <a:defRPr sz="2078"/>
            </a:lvl8pPr>
            <a:lvl9pPr marL="4747395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909" y="1501992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2364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7453" algn="ctr"/>
              </a:tabLst>
              <a:defRPr sz="17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429" indent="-171023">
              <a:buFont typeface="Arial" panose="020B0604020202020204" pitchFamily="34" charset="0"/>
              <a:buChar char="•"/>
              <a:tabLst>
                <a:tab pos="1207453" algn="ctr"/>
              </a:tabLst>
              <a:defRPr sz="1298" baseline="0"/>
            </a:lvl2pPr>
            <a:lvl3pPr marL="525429" indent="-171023">
              <a:buFont typeface="Arial" panose="020B0604020202020204" pitchFamily="34" charset="0"/>
              <a:buChar char="•"/>
              <a:tabLst>
                <a:tab pos="1207453" algn="ctr"/>
              </a:tabLst>
              <a:defRPr sz="1298" baseline="0"/>
            </a:lvl3pPr>
            <a:lvl4pPr marL="525429" indent="-171023">
              <a:buFont typeface="Arial" panose="020B0604020202020204" pitchFamily="34" charset="0"/>
              <a:buChar char="•"/>
              <a:tabLst>
                <a:tab pos="1207453" algn="ctr"/>
              </a:tabLst>
              <a:defRPr sz="1298" baseline="0"/>
            </a:lvl4pPr>
            <a:lvl5pPr marL="525429" indent="-171023">
              <a:buFont typeface="Arial" panose="020B0604020202020204" pitchFamily="34" charset="0"/>
              <a:buChar char="•"/>
              <a:tabLst>
                <a:tab pos="1207453" algn="ctr"/>
              </a:tabLst>
              <a:defRPr sz="1298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99644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标题 8"/>
          <p:cNvSpPr>
            <a:spLocks noGrp="1"/>
          </p:cNvSpPr>
          <p:nvPr>
            <p:ph type="title"/>
          </p:nvPr>
        </p:nvSpPr>
        <p:spPr>
          <a:xfrm>
            <a:off x="838528" y="365128"/>
            <a:ext cx="10519708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63996142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8387625"/>
      </p:ext>
    </p:extLst>
  </p:cSld>
  <p:clrMapOvr>
    <a:masterClrMapping/>
  </p:clrMapOvr>
  <p:transition advClick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31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33" indent="0" algn="ctr">
              <a:buNone/>
              <a:defRPr sz="2597"/>
            </a:lvl2pPr>
            <a:lvl3pPr marL="1187264" indent="0" algn="ctr">
              <a:buNone/>
              <a:defRPr sz="2337"/>
            </a:lvl3pPr>
            <a:lvl4pPr marL="1780897" indent="0" algn="ctr">
              <a:buNone/>
              <a:defRPr sz="2078"/>
            </a:lvl4pPr>
            <a:lvl5pPr marL="2374530" indent="0" algn="ctr">
              <a:buNone/>
              <a:defRPr sz="2078"/>
            </a:lvl5pPr>
            <a:lvl6pPr marL="2968161" indent="0" algn="ctr">
              <a:buNone/>
              <a:defRPr sz="2078"/>
            </a:lvl6pPr>
            <a:lvl7pPr marL="3561793" indent="0" algn="ctr">
              <a:buNone/>
              <a:defRPr sz="2078"/>
            </a:lvl7pPr>
            <a:lvl8pPr marL="4155426" indent="0" algn="ctr">
              <a:buNone/>
              <a:defRPr sz="2078"/>
            </a:lvl8pPr>
            <a:lvl9pPr marL="4749058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A8B3F0C-616F-224A-B32F-9F9BF5EEE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26023" y="1512878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79307" marR="0" indent="-168200" algn="l" defTabSz="1187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7545" algn="ctr"/>
              </a:tabLst>
              <a:defRPr sz="17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328878" marR="0" indent="-168200" algn="l" defTabSz="1187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7545" algn="ctr"/>
              </a:tabLst>
              <a:defRPr sz="1599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1098081" marR="0" indent="-168200" algn="l" defTabSz="1187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207545" algn="ctr"/>
              </a:tabLst>
              <a:defRPr sz="1298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525614" indent="-171083">
              <a:buFont typeface="Arial" panose="020B0604020202020204" pitchFamily="34" charset="0"/>
              <a:buChar char="•"/>
              <a:tabLst>
                <a:tab pos="1207877" algn="ctr"/>
              </a:tabLst>
              <a:defRPr sz="1298" baseline="0"/>
            </a:lvl4pPr>
            <a:lvl5pPr marL="525614" indent="-171083">
              <a:buFont typeface="Arial" panose="020B0604020202020204" pitchFamily="34" charset="0"/>
              <a:buChar char="•"/>
              <a:tabLst>
                <a:tab pos="1207877" algn="ctr"/>
              </a:tabLst>
              <a:defRPr sz="1298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  <a:p>
            <a:pPr marL="328878" marR="0" lvl="1" indent="-168200" algn="l" defTabSz="1187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545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081" marR="0" lvl="2" indent="-168200" algn="l" defTabSz="1187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545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081" marR="0" lvl="2" indent="-168200" algn="l" defTabSz="1187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545" algn="ctr"/>
              </a:tabLst>
              <a:defRPr/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4556536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68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01720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41016" y="6356354"/>
            <a:ext cx="2845911" cy="366182"/>
          </a:xfrm>
          <a:prstGeom prst="rect">
            <a:avLst/>
          </a:prstGeom>
        </p:spPr>
        <p:txBody>
          <a:bodyPr/>
          <a:lstStyle/>
          <a:p>
            <a:pPr defTabSz="914067"/>
            <a:fld id="{0C913308-F349-4B6D-A68A-DD1791B4A57B}" type="slidenum">
              <a:rPr lang="zh-CN" altLang="en-US" smtClean="0">
                <a:solidFill>
                  <a:prstClr val="black"/>
                </a:solidFill>
              </a:rPr>
              <a:pPr defTabSz="91406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064331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150954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-L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0272145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825" y="392126"/>
            <a:ext cx="10740640" cy="549706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27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33" indent="0" algn="ctr">
              <a:buNone/>
              <a:defRPr sz="2597"/>
            </a:lvl2pPr>
            <a:lvl3pPr marL="1187264" indent="0" algn="ctr">
              <a:buNone/>
              <a:defRPr sz="2337"/>
            </a:lvl3pPr>
            <a:lvl4pPr marL="1780897" indent="0" algn="ctr">
              <a:buNone/>
              <a:defRPr sz="2078"/>
            </a:lvl4pPr>
            <a:lvl5pPr marL="2374530" indent="0" algn="ctr">
              <a:buNone/>
              <a:defRPr sz="2078"/>
            </a:lvl5pPr>
            <a:lvl6pPr marL="2968161" indent="0" algn="ctr">
              <a:buNone/>
              <a:defRPr sz="2078"/>
            </a:lvl6pPr>
            <a:lvl7pPr marL="3561793" indent="0" algn="ctr">
              <a:buNone/>
              <a:defRPr sz="2078"/>
            </a:lvl7pPr>
            <a:lvl8pPr marL="4155426" indent="0" algn="ctr">
              <a:buNone/>
              <a:defRPr sz="2078"/>
            </a:lvl8pPr>
            <a:lvl9pPr marL="4749058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910" y="1501989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2368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7877" algn="ctr"/>
              </a:tabLst>
              <a:defRPr sz="17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614" indent="-171083">
              <a:buFont typeface="Arial" panose="020B0604020202020204" pitchFamily="34" charset="0"/>
              <a:buChar char="•"/>
              <a:tabLst>
                <a:tab pos="1207877" algn="ctr"/>
              </a:tabLst>
              <a:defRPr sz="1298" baseline="0"/>
            </a:lvl2pPr>
            <a:lvl3pPr marL="525614" indent="-171083">
              <a:buFont typeface="Arial" panose="020B0604020202020204" pitchFamily="34" charset="0"/>
              <a:buChar char="•"/>
              <a:tabLst>
                <a:tab pos="1207877" algn="ctr"/>
              </a:tabLst>
              <a:defRPr sz="1298" baseline="0"/>
            </a:lvl3pPr>
            <a:lvl4pPr marL="525614" indent="-171083">
              <a:buFont typeface="Arial" panose="020B0604020202020204" pitchFamily="34" charset="0"/>
              <a:buChar char="•"/>
              <a:tabLst>
                <a:tab pos="1207877" algn="ctr"/>
              </a:tabLst>
              <a:defRPr sz="1298" baseline="0"/>
            </a:lvl4pPr>
            <a:lvl5pPr marL="525614" indent="-171083">
              <a:buFont typeface="Arial" panose="020B0604020202020204" pitchFamily="34" charset="0"/>
              <a:buChar char="•"/>
              <a:tabLst>
                <a:tab pos="1207877" algn="ctr"/>
              </a:tabLst>
              <a:defRPr sz="1298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12116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683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701275053"/>
      </p:ext>
    </p:extLst>
  </p:cSld>
  <p:clrMapOvr>
    <a:masterClrMapping/>
  </p:clrMapOvr>
  <p:transition>
    <p:wipe dir="r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31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33" indent="0" algn="ctr">
              <a:buNone/>
              <a:defRPr sz="2597"/>
            </a:lvl2pPr>
            <a:lvl3pPr marL="1187264" indent="0" algn="ctr">
              <a:buNone/>
              <a:defRPr sz="2337"/>
            </a:lvl3pPr>
            <a:lvl4pPr marL="1780897" indent="0" algn="ctr">
              <a:buNone/>
              <a:defRPr sz="2078"/>
            </a:lvl4pPr>
            <a:lvl5pPr marL="2374530" indent="0" algn="ctr">
              <a:buNone/>
              <a:defRPr sz="2078"/>
            </a:lvl5pPr>
            <a:lvl6pPr marL="2968161" indent="0" algn="ctr">
              <a:buNone/>
              <a:defRPr sz="2078"/>
            </a:lvl6pPr>
            <a:lvl7pPr marL="3561793" indent="0" algn="ctr">
              <a:buNone/>
              <a:defRPr sz="2078"/>
            </a:lvl7pPr>
            <a:lvl8pPr marL="4155426" indent="0" algn="ctr">
              <a:buNone/>
              <a:defRPr sz="2078"/>
            </a:lvl8pPr>
            <a:lvl9pPr marL="4749058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A8B3F0C-616F-224A-B32F-9F9BF5EEE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26023" y="1512878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79307" marR="0" indent="-168200" algn="l" defTabSz="1187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7545" algn="ctr"/>
              </a:tabLst>
              <a:defRPr sz="17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328878" marR="0" indent="-168200" algn="l" defTabSz="1187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7545" algn="ctr"/>
              </a:tabLst>
              <a:defRPr sz="1599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1098081" marR="0" indent="-168200" algn="l" defTabSz="1187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207545" algn="ctr"/>
              </a:tabLst>
              <a:defRPr sz="1298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525614" indent="-171083">
              <a:buFont typeface="Arial" panose="020B0604020202020204" pitchFamily="34" charset="0"/>
              <a:buChar char="•"/>
              <a:tabLst>
                <a:tab pos="1207877" algn="ctr"/>
              </a:tabLst>
              <a:defRPr sz="1298" baseline="0"/>
            </a:lvl4pPr>
            <a:lvl5pPr marL="525614" indent="-171083">
              <a:buFont typeface="Arial" panose="020B0604020202020204" pitchFamily="34" charset="0"/>
              <a:buChar char="•"/>
              <a:tabLst>
                <a:tab pos="1207877" algn="ctr"/>
              </a:tabLst>
              <a:defRPr sz="1298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  <a:p>
            <a:pPr marL="328878" marR="0" lvl="1" indent="-168200" algn="l" defTabSz="1187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545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081" marR="0" lvl="2" indent="-168200" algn="l" defTabSz="1187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545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081" marR="0" lvl="2" indent="-168200" algn="l" defTabSz="11872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7545" algn="ctr"/>
              </a:tabLst>
              <a:defRPr/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7098866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683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41016" y="6356354"/>
            <a:ext cx="2845911" cy="366182"/>
          </a:xfrm>
          <a:prstGeom prst="rect">
            <a:avLst/>
          </a:prstGeom>
        </p:spPr>
        <p:txBody>
          <a:bodyPr/>
          <a:lstStyle/>
          <a:p>
            <a:pPr defTabSz="914067"/>
            <a:fld id="{0C913308-F349-4B6D-A68A-DD1791B4A57B}" type="slidenum">
              <a:rPr lang="zh-CN" altLang="en-US" smtClean="0">
                <a:solidFill>
                  <a:prstClr val="black"/>
                </a:solidFill>
              </a:rPr>
              <a:pPr defTabSz="914067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437932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760008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-L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797680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825" y="392126"/>
            <a:ext cx="10740640" cy="549706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27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33" indent="0" algn="ctr">
              <a:buNone/>
              <a:defRPr sz="2597"/>
            </a:lvl2pPr>
            <a:lvl3pPr marL="1187264" indent="0" algn="ctr">
              <a:buNone/>
              <a:defRPr sz="2337"/>
            </a:lvl3pPr>
            <a:lvl4pPr marL="1780897" indent="0" algn="ctr">
              <a:buNone/>
              <a:defRPr sz="2078"/>
            </a:lvl4pPr>
            <a:lvl5pPr marL="2374530" indent="0" algn="ctr">
              <a:buNone/>
              <a:defRPr sz="2078"/>
            </a:lvl5pPr>
            <a:lvl6pPr marL="2968161" indent="0" algn="ctr">
              <a:buNone/>
              <a:defRPr sz="2078"/>
            </a:lvl6pPr>
            <a:lvl7pPr marL="3561793" indent="0" algn="ctr">
              <a:buNone/>
              <a:defRPr sz="2078"/>
            </a:lvl7pPr>
            <a:lvl8pPr marL="4155426" indent="0" algn="ctr">
              <a:buNone/>
              <a:defRPr sz="2078"/>
            </a:lvl8pPr>
            <a:lvl9pPr marL="4749058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910" y="1501989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2368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7877" algn="ctr"/>
              </a:tabLst>
              <a:defRPr sz="17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614" indent="-171083">
              <a:buFont typeface="Arial" panose="020B0604020202020204" pitchFamily="34" charset="0"/>
              <a:buChar char="•"/>
              <a:tabLst>
                <a:tab pos="1207877" algn="ctr"/>
              </a:tabLst>
              <a:defRPr sz="1298" baseline="0"/>
            </a:lvl2pPr>
            <a:lvl3pPr marL="525614" indent="-171083">
              <a:buFont typeface="Arial" panose="020B0604020202020204" pitchFamily="34" charset="0"/>
              <a:buChar char="•"/>
              <a:tabLst>
                <a:tab pos="1207877" algn="ctr"/>
              </a:tabLst>
              <a:defRPr sz="1298" baseline="0"/>
            </a:lvl3pPr>
            <a:lvl4pPr marL="525614" indent="-171083">
              <a:buFont typeface="Arial" panose="020B0604020202020204" pitchFamily="34" charset="0"/>
              <a:buChar char="•"/>
              <a:tabLst>
                <a:tab pos="1207877" algn="ctr"/>
              </a:tabLst>
              <a:defRPr sz="1298" baseline="0"/>
            </a:lvl4pPr>
            <a:lvl5pPr marL="525614" indent="-171083">
              <a:buFont typeface="Arial" panose="020B0604020202020204" pitchFamily="34" charset="0"/>
              <a:buChar char="•"/>
              <a:tabLst>
                <a:tab pos="1207877" algn="ctr"/>
              </a:tabLst>
              <a:defRPr sz="1298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08008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68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A8B3F0C-616F-224A-B32F-9F9BF5EEE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26021" y="1512875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79388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 sz="1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329026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8088" algn="ctr"/>
              </a:tabLst>
              <a:defRPr sz="1600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1098575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208088" algn="ctr"/>
              </a:tabLst>
              <a:defRPr sz="1299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4pPr>
            <a:lvl5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  <a:p>
            <a:pPr marL="329026" marR="0" lvl="1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75" marR="0" lvl="2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75" marR="0" lvl="2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9255454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690816939"/>
      </p:ext>
    </p:extLst>
  </p:cSld>
  <p:clrMapOvr>
    <a:masterClrMapping/>
  </p:clrMapOvr>
  <p:transition>
    <p:wipe dir="r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506345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620980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2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16238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09332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A8B3F0C-616F-224A-B32F-9F9BF5EEE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26021" y="1512875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79388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 sz="1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329026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8088" algn="ctr"/>
              </a:tabLst>
              <a:defRPr sz="1600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1098575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208088" algn="ctr"/>
              </a:tabLst>
              <a:defRPr sz="1299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4pPr>
            <a:lvl5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  <a:p>
            <a:pPr marL="329026" marR="0" lvl="1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75" marR="0" lvl="2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75" marR="0" lvl="2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3366400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08638" y="608400"/>
            <a:ext cx="10973485" cy="705600"/>
          </a:xfrm>
        </p:spPr>
        <p:txBody>
          <a:bodyPr vert="horz" lIns="90000" tIns="46800" rIns="90000" bIns="46800" rtlCol="0" anchor="ctr" anchorCtr="0">
            <a:normAutofit/>
          </a:bodyPr>
          <a:lstStyle/>
          <a:p>
            <a:pPr lvl="0"/>
            <a:r>
              <a:rPr dirty="0">
                <a:sym typeface="+mn-ea"/>
              </a:rPr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08638" y="1490400"/>
            <a:ext cx="10973485" cy="4759200"/>
          </a:xfrm>
        </p:spPr>
        <p:txBody>
          <a:bodyPr vert="horz" lIns="90000" tIns="46800" rIns="90000" bIns="46800" rtlCol="0">
            <a:normAutofit/>
          </a:bodyPr>
          <a:lstStyle/>
          <a:p>
            <a:pPr lvl="0"/>
            <a:r>
              <a:rPr dirty="0">
                <a:sym typeface="+mn-ea"/>
              </a:rPr>
              <a:t>单击此处编辑母版文本样式</a:t>
            </a:r>
          </a:p>
          <a:p>
            <a:pPr lvl="1"/>
            <a:r>
              <a:rPr dirty="0">
                <a:sym typeface="+mn-ea"/>
              </a:rPr>
              <a:t>第二级</a:t>
            </a:r>
          </a:p>
          <a:p>
            <a:pPr lvl="2"/>
            <a:r>
              <a:rPr dirty="0">
                <a:sym typeface="+mn-ea"/>
              </a:rPr>
              <a:t>第三级</a:t>
            </a:r>
          </a:p>
          <a:p>
            <a:pPr lvl="3"/>
            <a:r>
              <a:rPr dirty="0">
                <a:sym typeface="+mn-ea"/>
              </a:rPr>
              <a:t>第四级</a:t>
            </a:r>
          </a:p>
          <a:p>
            <a:pPr lvl="4"/>
            <a:r>
              <a:rPr dirty="0">
                <a:sym typeface="+mn-ea"/>
              </a:rPr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>
          <a:xfrm>
            <a:off x="612239" y="6314400"/>
            <a:ext cx="2701055" cy="316800"/>
          </a:xfrm>
        </p:spPr>
        <p:txBody>
          <a:bodyPr/>
          <a:lstStyle/>
          <a:p>
            <a:pPr defTabSz="914411"/>
            <a:fld id="{760FBDFE-C587-4B4C-A407-44438C67B59E}" type="datetimeFigureOut">
              <a:rPr lang="zh-CN" altLang="en-US" smtClean="0">
                <a:solidFill>
                  <a:srgbClr val="000000"/>
                </a:solidFill>
              </a:rPr>
              <a:pPr defTabSz="914411"/>
              <a:t>2022/5/13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4117608" y="6314400"/>
            <a:ext cx="3961547" cy="316800"/>
          </a:xfrm>
        </p:spPr>
        <p:txBody>
          <a:bodyPr/>
          <a:lstStyle/>
          <a:p>
            <a:pPr defTabSz="914411"/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8881068" y="6314400"/>
            <a:ext cx="2701055" cy="316800"/>
          </a:xfrm>
        </p:spPr>
        <p:txBody>
          <a:bodyPr/>
          <a:lstStyle/>
          <a:p>
            <a:pPr defTabSz="914411"/>
            <a:fld id="{49AE70B2-8BF9-45C0-BB95-33D1B9D3A854}" type="slidenum">
              <a:rPr lang="zh-CN" altLang="en-US" smtClean="0">
                <a:solidFill>
                  <a:srgbClr val="000000"/>
                </a:solidFill>
              </a:rPr>
              <a:pPr defTabSz="914411"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434172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20363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60260174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模板刷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833" y="520852"/>
            <a:ext cx="11034000" cy="54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 defTabSz="914217" rtl="0" eaLnBrk="1" fontAlgn="base" latinLnBrk="0" hangingPunct="1">
              <a:lnSpc>
                <a:spcPts val="3428"/>
              </a:lnSpc>
              <a:spcBef>
                <a:spcPct val="20000"/>
              </a:spcBef>
              <a:spcAft>
                <a:spcPct val="0"/>
              </a:spcAft>
              <a:buClr>
                <a:srgbClr val="990000"/>
              </a:buClr>
              <a:buNone/>
              <a:defRPr lang="en-US" sz="2798" b="1" kern="0" dirty="0">
                <a:solidFill>
                  <a:srgbClr val="C00000"/>
                </a:solidFill>
                <a:latin typeface="Huawei Sans" panose="020B0604020202020204"/>
                <a:ea typeface="微软雅黑"/>
                <a:cs typeface="+mn-ea"/>
              </a:defRPr>
            </a:lvl1pPr>
            <a:lvl2pPr marL="593705" indent="0" algn="ctr">
              <a:buNone/>
              <a:defRPr sz="2598"/>
            </a:lvl2pPr>
            <a:lvl3pPr marL="1187412" indent="0" algn="ctr">
              <a:buNone/>
              <a:defRPr sz="2336"/>
            </a:lvl3pPr>
            <a:lvl4pPr marL="1781121" indent="0" algn="ctr">
              <a:buNone/>
              <a:defRPr sz="2080"/>
            </a:lvl4pPr>
            <a:lvl5pPr marL="2374828" indent="0" algn="ctr">
              <a:buNone/>
              <a:defRPr sz="2080"/>
            </a:lvl5pPr>
            <a:lvl6pPr marL="2968531" indent="0" algn="ctr">
              <a:buNone/>
              <a:defRPr sz="2080"/>
            </a:lvl6pPr>
            <a:lvl7pPr marL="3562237" indent="0" algn="ctr">
              <a:buNone/>
              <a:defRPr sz="2080"/>
            </a:lvl7pPr>
            <a:lvl8pPr marL="4155945" indent="0" algn="ctr">
              <a:buNone/>
              <a:defRPr sz="2080"/>
            </a:lvl8pPr>
            <a:lvl9pPr marL="4749650" indent="0" algn="ctr">
              <a:buNone/>
              <a:defRPr sz="2080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298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55406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2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908" y="1193075"/>
            <a:ext cx="10733557" cy="4999374"/>
          </a:xfrm>
          <a:prstGeom prst="rect">
            <a:avLst/>
          </a:prstGeom>
        </p:spPr>
        <p:txBody>
          <a:bodyPr lIns="0" tIns="0" rIns="0" bIns="0"/>
          <a:lstStyle>
            <a:lvl1pPr marL="12373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8420" algn="ctr"/>
              </a:tabLst>
              <a:defRPr sz="1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2pPr>
            <a:lvl3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3pPr>
            <a:lvl4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4pPr>
            <a:lvl5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3882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A8B3F0C-616F-224A-B32F-9F9BF5EEE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26021" y="1512875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79388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 sz="1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329026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208088" algn="ctr"/>
              </a:tabLst>
              <a:defRPr sz="1600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1098575" marR="0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208088" algn="ctr"/>
              </a:tabLst>
              <a:defRPr sz="1299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4pPr>
            <a:lvl5pPr marL="525850" indent="-171159">
              <a:buFont typeface="Arial" panose="020B0604020202020204" pitchFamily="34" charset="0"/>
              <a:buChar char="•"/>
              <a:tabLst>
                <a:tab pos="1208420" algn="ctr"/>
              </a:tabLst>
              <a:defRPr sz="1299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  <a:p>
            <a:pPr marL="329026" marR="0" lvl="1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75" marR="0" lvl="2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98575" marR="0" lvl="2" indent="-168275" algn="l" defTabSz="11877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208088" algn="ctr"/>
              </a:tabLst>
              <a:defRPr/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36321562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2399" baseline="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93662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6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en-US" altLang="zh-CN" dirty="0"/>
              <a:t>Ar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46533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2800" b="1" baseline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794711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23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62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6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909" y="1501989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2368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7937" algn="ctr"/>
              </a:tabLst>
              <a:defRPr sz="17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2pPr>
            <a:lvl3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3pPr>
            <a:lvl4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4pPr>
            <a:lvl5pPr marL="525640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8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7696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27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62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6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42323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0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000" y="6319872"/>
            <a:ext cx="1269075" cy="271153"/>
          </a:xfrm>
          <a:prstGeom prst="rect">
            <a:avLst/>
          </a:prstGeom>
        </p:spPr>
      </p:pic>
      <p:sp>
        <p:nvSpPr>
          <p:cNvPr id="7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/>
        </p:nvSpPr>
        <p:spPr>
          <a:xfrm>
            <a:off x="1095467" y="6356939"/>
            <a:ext cx="28543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Proprietary – Restricted Distribution</a:t>
            </a:r>
          </a:p>
        </p:txBody>
      </p:sp>
      <p:sp>
        <p:nvSpPr>
          <p:cNvPr id="8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6855144"/>
      </p:ext>
    </p:extLst>
  </p:cSld>
  <p:clrMapOvr>
    <a:masterClrMapping/>
  </p:clrMapOvr>
  <p:transition spd="med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007927" y="1628789"/>
            <a:ext cx="10180910" cy="4194175"/>
          </a:xfrm>
          <a:prstGeom prst="rect">
            <a:avLst/>
          </a:prstGeom>
        </p:spPr>
        <p:txBody>
          <a:bodyPr lIns="91356" tIns="45681" rIns="91356" bIns="45681"/>
          <a:lstStyle>
            <a:lvl1pPr>
              <a:defRPr>
                <a:latin typeface="微软雅黑" pitchFamily="34" charset="-122"/>
                <a:ea typeface="微软雅黑" pitchFamily="34" charset="-122"/>
              </a:defRPr>
            </a:lvl1pPr>
            <a:lvl2pPr>
              <a:defRPr>
                <a:latin typeface="微软雅黑" pitchFamily="34" charset="-122"/>
                <a:ea typeface="微软雅黑" pitchFamily="34" charset="-122"/>
              </a:defRPr>
            </a:lvl2pPr>
            <a:lvl3pPr>
              <a:defRPr>
                <a:latin typeface="微软雅黑" pitchFamily="34" charset="-122"/>
                <a:ea typeface="微软雅黑" pitchFamily="34" charset="-122"/>
              </a:defRPr>
            </a:lvl3pPr>
            <a:lvl4pPr>
              <a:defRPr>
                <a:latin typeface="微软雅黑" pitchFamily="34" charset="-122"/>
                <a:ea typeface="微软雅黑" pitchFamily="34" charset="-122"/>
              </a:defRPr>
            </a:lvl4pPr>
            <a:lvl5pPr>
              <a:defRPr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1007927" y="325970"/>
            <a:ext cx="10180910" cy="8720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6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0025" rIns="80052" bIns="40025" numCol="1" anchor="ctr" anchorCtr="0" compatLnSpc="1">
            <a:prstTxWarp prst="textNoShape">
              <a:avLst/>
            </a:prstTxWarp>
          </a:bodyPr>
          <a:lstStyle>
            <a:lvl1pPr>
              <a:defRPr sz="4265">
                <a:latin typeface="微软雅黑" pitchFamily="34" charset="-122"/>
                <a:ea typeface="微软雅黑" pitchFamily="34" charset="-122"/>
              </a:defRPr>
            </a:lvl1pPr>
          </a:lstStyle>
          <a:p>
            <a:pPr lvl="0"/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0331797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2399" baseline="0"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93662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6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en-US" altLang="zh-CN" dirty="0"/>
              <a:t>Ar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56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839" y="275169"/>
            <a:ext cx="10977087" cy="1142999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09839" y="1600204"/>
            <a:ext cx="10977087" cy="45254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337993555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0252887"/>
      </p:ext>
    </p:extLst>
  </p:cSld>
  <p:clrMapOvr>
    <a:masterClrMapping/>
  </p:clrMapOvr>
  <p:transition spd="med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8089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900" indent="0" algn="ctr">
              <a:buNone/>
              <a:defRPr sz="2598"/>
            </a:lvl2pPr>
            <a:lvl3pPr marL="1187798" indent="0" algn="ctr">
              <a:buNone/>
              <a:defRPr sz="2338"/>
            </a:lvl3pPr>
            <a:lvl4pPr marL="1781699" indent="0" algn="ctr">
              <a:buNone/>
              <a:defRPr sz="2079"/>
            </a:lvl4pPr>
            <a:lvl5pPr marL="2375598" indent="0" algn="ctr">
              <a:buNone/>
              <a:defRPr sz="2079"/>
            </a:lvl5pPr>
            <a:lvl6pPr marL="2969497" indent="0" algn="ctr">
              <a:buNone/>
              <a:defRPr sz="2079"/>
            </a:lvl6pPr>
            <a:lvl7pPr marL="3563396" indent="0" algn="ctr">
              <a:buNone/>
              <a:defRPr sz="2079"/>
            </a:lvl7pPr>
            <a:lvl8pPr marL="4157297" indent="0" algn="ctr">
              <a:buNone/>
              <a:defRPr sz="2079"/>
            </a:lvl8pPr>
            <a:lvl9pPr marL="4751195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251370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712640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8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7" y="451863"/>
            <a:ext cx="10740513" cy="44456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lnSpc>
                <a:spcPts val="3427"/>
              </a:lnSpc>
              <a:spcBef>
                <a:spcPts val="0"/>
              </a:spcBef>
              <a:buNone/>
              <a:defRPr sz="2398" b="1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411" indent="0" algn="ctr">
              <a:buNone/>
              <a:defRPr sz="2596"/>
            </a:lvl2pPr>
            <a:lvl3pPr marL="1186818" indent="0" algn="ctr">
              <a:buNone/>
              <a:defRPr sz="2336"/>
            </a:lvl3pPr>
            <a:lvl4pPr marL="1780230" indent="0" algn="ctr">
              <a:buNone/>
              <a:defRPr sz="2078"/>
            </a:lvl4pPr>
            <a:lvl5pPr marL="2373639" indent="0" algn="ctr">
              <a:buNone/>
              <a:defRPr sz="2078"/>
            </a:lvl5pPr>
            <a:lvl6pPr marL="2967048" indent="0" algn="ctr">
              <a:buNone/>
              <a:defRPr sz="2078"/>
            </a:lvl6pPr>
            <a:lvl7pPr marL="3560457" indent="0" algn="ctr">
              <a:buNone/>
              <a:defRPr sz="2078"/>
            </a:lvl7pPr>
            <a:lvl8pPr marL="4153869" indent="0" algn="ctr">
              <a:buNone/>
              <a:defRPr sz="2078"/>
            </a:lvl8pPr>
            <a:lvl9pPr marL="4747276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91311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5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5"/>
            <a:ext cx="10740640" cy="9934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ts val="3427"/>
              </a:lnSpc>
              <a:spcBef>
                <a:spcPts val="0"/>
              </a:spcBef>
              <a:buNone/>
              <a:defRPr sz="3198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411" indent="0" algn="ctr">
              <a:buNone/>
              <a:defRPr sz="2596"/>
            </a:lvl2pPr>
            <a:lvl3pPr marL="1186818" indent="0" algn="ctr">
              <a:buNone/>
              <a:defRPr sz="2336"/>
            </a:lvl3pPr>
            <a:lvl4pPr marL="1780230" indent="0" algn="ctr">
              <a:buNone/>
              <a:defRPr sz="2078"/>
            </a:lvl4pPr>
            <a:lvl5pPr marL="2373639" indent="0" algn="ctr">
              <a:buNone/>
              <a:defRPr sz="2078"/>
            </a:lvl5pPr>
            <a:lvl6pPr marL="2967048" indent="0" algn="ctr">
              <a:buNone/>
              <a:defRPr sz="2078"/>
            </a:lvl6pPr>
            <a:lvl7pPr marL="3560457" indent="0" algn="ctr">
              <a:buNone/>
              <a:defRPr sz="2078"/>
            </a:lvl7pPr>
            <a:lvl8pPr marL="4153869" indent="0" algn="ctr">
              <a:buNone/>
              <a:defRPr sz="2078"/>
            </a:lvl8pPr>
            <a:lvl9pPr marL="4747276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910" y="1501989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2363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7423" algn="ctr"/>
              </a:tabLst>
              <a:defRPr sz="1798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417" indent="-171018">
              <a:buFont typeface="Arial" panose="020B0604020202020204" pitchFamily="34" charset="0"/>
              <a:buChar char="•"/>
              <a:tabLst>
                <a:tab pos="1207423" algn="ctr"/>
              </a:tabLst>
              <a:defRPr sz="1298" baseline="0"/>
            </a:lvl2pPr>
            <a:lvl3pPr marL="525417" indent="-171018">
              <a:buFont typeface="Arial" panose="020B0604020202020204" pitchFamily="34" charset="0"/>
              <a:buChar char="•"/>
              <a:tabLst>
                <a:tab pos="1207423" algn="ctr"/>
              </a:tabLst>
              <a:defRPr sz="1298" baseline="0"/>
            </a:lvl3pPr>
            <a:lvl4pPr marL="525417" indent="-171018">
              <a:buFont typeface="Arial" panose="020B0604020202020204" pitchFamily="34" charset="0"/>
              <a:buChar char="•"/>
              <a:tabLst>
                <a:tab pos="1207423" algn="ctr"/>
              </a:tabLst>
              <a:defRPr sz="1298" baseline="0"/>
            </a:lvl4pPr>
            <a:lvl5pPr marL="525417" indent="-171018">
              <a:buFont typeface="Arial" panose="020B0604020202020204" pitchFamily="34" charset="0"/>
              <a:buChar char="•"/>
              <a:tabLst>
                <a:tab pos="1207423" algn="ctr"/>
              </a:tabLst>
              <a:defRPr sz="1298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1605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内容-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61" name="对象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119" y="2122"/>
          <a:ext cx="2116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22"/>
                        <a:ext cx="2116" cy="211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260" y="284388"/>
            <a:ext cx="10900800" cy="630000"/>
          </a:xfrm>
          <a:prstGeom prst="rect">
            <a:avLst/>
          </a:prstGeom>
        </p:spPr>
        <p:txBody>
          <a:bodyPr lIns="68400" tIns="36000" rIns="68400" bIns="36000" anchor="ctr" anchorCtr="0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lang="en-US" sz="3196" b="1" kern="12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ea typeface="+mn-ea"/>
                <a:cs typeface="+mj-cs"/>
              </a:defRPr>
            </a:lvl1pPr>
            <a:lvl2pPr marL="593662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6" indent="0" algn="ctr">
              <a:buNone/>
              <a:defRPr sz="2078"/>
            </a:lvl4pPr>
            <a:lvl5pPr marL="2374648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68170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9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8"/>
              </a:lnSpc>
              <a:spcBef>
                <a:spcPts val="0"/>
              </a:spcBef>
              <a:buNone/>
              <a:defRPr sz="3198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425" indent="0" algn="ctr">
              <a:buNone/>
              <a:defRPr sz="2596"/>
            </a:lvl2pPr>
            <a:lvl3pPr marL="1186848" indent="0" algn="ctr">
              <a:buNone/>
              <a:defRPr sz="2336"/>
            </a:lvl3pPr>
            <a:lvl4pPr marL="1780274" indent="0" algn="ctr">
              <a:buNone/>
              <a:defRPr sz="2077"/>
            </a:lvl4pPr>
            <a:lvl5pPr marL="2373698" indent="0" algn="ctr">
              <a:buNone/>
              <a:defRPr sz="2077"/>
            </a:lvl5pPr>
            <a:lvl6pPr marL="2967122" indent="0" algn="ctr">
              <a:buNone/>
              <a:defRPr sz="2077"/>
            </a:lvl6pPr>
            <a:lvl7pPr marL="3560546" indent="0" algn="ctr">
              <a:buNone/>
              <a:defRPr sz="2077"/>
            </a:lvl7pPr>
            <a:lvl8pPr marL="4153972" indent="0" algn="ctr">
              <a:buNone/>
              <a:defRPr sz="2077"/>
            </a:lvl8pPr>
            <a:lvl9pPr marL="4747395" indent="0" algn="ctr">
              <a:buNone/>
              <a:defRPr sz="2077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910" y="1501989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2363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7454" algn="ctr"/>
              </a:tabLst>
              <a:defRPr sz="1798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430" indent="-171023">
              <a:buFont typeface="Arial" panose="020B0604020202020204" pitchFamily="34" charset="0"/>
              <a:buChar char="•"/>
              <a:tabLst>
                <a:tab pos="1207454" algn="ctr"/>
              </a:tabLst>
              <a:defRPr sz="1297" baseline="0"/>
            </a:lvl2pPr>
            <a:lvl3pPr marL="525430" indent="-171023">
              <a:buFont typeface="Arial" panose="020B0604020202020204" pitchFamily="34" charset="0"/>
              <a:buChar char="•"/>
              <a:tabLst>
                <a:tab pos="1207454" algn="ctr"/>
              </a:tabLst>
              <a:defRPr sz="1297" baseline="0"/>
            </a:lvl3pPr>
            <a:lvl4pPr marL="525430" indent="-171023">
              <a:buFont typeface="Arial" panose="020B0604020202020204" pitchFamily="34" charset="0"/>
              <a:buChar char="•"/>
              <a:tabLst>
                <a:tab pos="1207454" algn="ctr"/>
              </a:tabLst>
              <a:defRPr sz="1297" baseline="0"/>
            </a:lvl4pPr>
            <a:lvl5pPr marL="525430" indent="-171023">
              <a:buFont typeface="Arial" panose="020B0604020202020204" pitchFamily="34" charset="0"/>
              <a:buChar char="•"/>
              <a:tabLst>
                <a:tab pos="1207454" algn="ctr"/>
              </a:tabLst>
              <a:defRPr sz="1297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3236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0766524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A165049A-7693-0341-8E5F-981070F13F6D}"/>
              </a:ext>
            </a:extLst>
          </p:cNvPr>
          <p:cNvSpPr txBox="1"/>
          <p:nvPr/>
        </p:nvSpPr>
        <p:spPr>
          <a:xfrm>
            <a:off x="1013239" y="6419238"/>
            <a:ext cx="1245124" cy="2399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74077"/>
            <a:r>
              <a:rPr lang="en-US" sz="959" dirty="0">
                <a:solidFill>
                  <a:srgbClr val="FFFFFF"/>
                </a:solidFill>
                <a:cs typeface="Arial" panose="020B0604020202020204" pitchFamily="34" charset="0"/>
              </a:rPr>
              <a:t>Huawei Confidential</a:t>
            </a:r>
          </a:p>
        </p:txBody>
      </p:sp>
    </p:spTree>
    <p:extLst>
      <p:ext uri="{BB962C8B-B14F-4D97-AF65-F5344CB8AC3E}">
        <p14:creationId xmlns:p14="http://schemas.microsoft.com/office/powerpoint/2010/main" val="31410566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5127" y="163526"/>
            <a:ext cx="10740640" cy="750874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ts val="3428"/>
              </a:lnSpc>
              <a:spcBef>
                <a:spcPts val="0"/>
              </a:spcBef>
              <a:buNone/>
              <a:defRPr sz="3198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426" indent="0" algn="ctr">
              <a:buNone/>
              <a:defRPr sz="2596"/>
            </a:lvl2pPr>
            <a:lvl3pPr marL="1186847" indent="0" algn="ctr">
              <a:buNone/>
              <a:defRPr sz="2337"/>
            </a:lvl3pPr>
            <a:lvl4pPr marL="1780275" indent="0" algn="ctr">
              <a:buNone/>
              <a:defRPr sz="2078"/>
            </a:lvl4pPr>
            <a:lvl5pPr marL="2373697" indent="0" algn="ctr">
              <a:buNone/>
              <a:defRPr sz="2078"/>
            </a:lvl5pPr>
            <a:lvl6pPr marL="2967122" indent="0" algn="ctr">
              <a:buNone/>
              <a:defRPr sz="2078"/>
            </a:lvl6pPr>
            <a:lvl7pPr marL="3560546" indent="0" algn="ctr">
              <a:buNone/>
              <a:defRPr sz="2078"/>
            </a:lvl7pPr>
            <a:lvl8pPr marL="4153972" indent="0" algn="ctr">
              <a:buNone/>
              <a:defRPr sz="2078"/>
            </a:lvl8pPr>
            <a:lvl9pPr marL="4747395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909" y="1501992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2364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7453" algn="ctr"/>
              </a:tabLst>
              <a:defRPr sz="17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429" indent="-171023">
              <a:buFont typeface="Arial" panose="020B0604020202020204" pitchFamily="34" charset="0"/>
              <a:buChar char="•"/>
              <a:tabLst>
                <a:tab pos="1207453" algn="ctr"/>
              </a:tabLst>
              <a:defRPr sz="1298" baseline="0"/>
            </a:lvl2pPr>
            <a:lvl3pPr marL="525429" indent="-171023">
              <a:buFont typeface="Arial" panose="020B0604020202020204" pitchFamily="34" charset="0"/>
              <a:buChar char="•"/>
              <a:tabLst>
                <a:tab pos="1207453" algn="ctr"/>
              </a:tabLst>
              <a:defRPr sz="1298" baseline="0"/>
            </a:lvl3pPr>
            <a:lvl4pPr marL="525429" indent="-171023">
              <a:buFont typeface="Arial" panose="020B0604020202020204" pitchFamily="34" charset="0"/>
              <a:buChar char="•"/>
              <a:tabLst>
                <a:tab pos="1207453" algn="ctr"/>
              </a:tabLst>
              <a:defRPr sz="1298" baseline="0"/>
            </a:lvl4pPr>
            <a:lvl5pPr marL="525429" indent="-171023">
              <a:buFont typeface="Arial" panose="020B0604020202020204" pitchFamily="34" charset="0"/>
              <a:buChar char="•"/>
              <a:tabLst>
                <a:tab pos="1207453" algn="ctr"/>
              </a:tabLst>
              <a:defRPr sz="1298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3827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标题 8"/>
          <p:cNvSpPr>
            <a:spLocks noGrp="1"/>
          </p:cNvSpPr>
          <p:nvPr>
            <p:ph type="title"/>
          </p:nvPr>
        </p:nvSpPr>
        <p:spPr>
          <a:xfrm>
            <a:off x="838528" y="365128"/>
            <a:ext cx="10519708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1428833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6" y="456136"/>
            <a:ext cx="8662378" cy="5058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8"/>
              </a:lnSpc>
              <a:spcBef>
                <a:spcPts val="0"/>
              </a:spcBef>
              <a:buNone/>
              <a:defRPr sz="2876" b="1" baseline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422" indent="0" algn="ctr">
              <a:buNone/>
              <a:defRPr sz="2596"/>
            </a:lvl2pPr>
            <a:lvl3pPr marL="1186841" indent="0" algn="ctr">
              <a:buNone/>
              <a:defRPr sz="2336"/>
            </a:lvl3pPr>
            <a:lvl4pPr marL="1780264" indent="0" algn="ctr">
              <a:buNone/>
              <a:defRPr sz="2077"/>
            </a:lvl4pPr>
            <a:lvl5pPr marL="2373684" indent="0" algn="ctr">
              <a:buNone/>
              <a:defRPr sz="2077"/>
            </a:lvl5pPr>
            <a:lvl6pPr marL="2967105" indent="0" algn="ctr">
              <a:buNone/>
              <a:defRPr sz="2077"/>
            </a:lvl6pPr>
            <a:lvl7pPr marL="3560525" indent="0" algn="ctr">
              <a:buNone/>
              <a:defRPr sz="2077"/>
            </a:lvl7pPr>
            <a:lvl8pPr marL="4153948" indent="0" algn="ctr">
              <a:buNone/>
              <a:defRPr sz="2077"/>
            </a:lvl8pPr>
            <a:lvl9pPr marL="4747367" indent="0" algn="ctr">
              <a:buNone/>
              <a:defRPr sz="2077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165049A-7693-0341-8E5F-981070F13F6D}"/>
              </a:ext>
            </a:extLst>
          </p:cNvPr>
          <p:cNvSpPr txBox="1"/>
          <p:nvPr/>
        </p:nvSpPr>
        <p:spPr>
          <a:xfrm>
            <a:off x="1013239" y="6419237"/>
            <a:ext cx="1245124" cy="2399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74077"/>
            <a:r>
              <a:rPr lang="en-US" sz="959" dirty="0">
                <a:solidFill>
                  <a:srgbClr val="FFFFFF"/>
                </a:solidFill>
                <a:cs typeface="Arial" panose="020B0604020202020204" pitchFamily="34" charset="0"/>
              </a:rPr>
              <a:t>Huawei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632063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304874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31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663" indent="0" algn="ctr">
              <a:buNone/>
              <a:defRPr sz="2597"/>
            </a:lvl2pPr>
            <a:lvl3pPr marL="1187323" indent="0" algn="ctr">
              <a:buNone/>
              <a:defRPr sz="2337"/>
            </a:lvl3pPr>
            <a:lvl4pPr marL="1780987" indent="0" algn="ctr">
              <a:buNone/>
              <a:defRPr sz="2078"/>
            </a:lvl4pPr>
            <a:lvl5pPr marL="2374647" indent="0" algn="ctr">
              <a:buNone/>
              <a:defRPr sz="2078"/>
            </a:lvl5pPr>
            <a:lvl6pPr marL="2968309" indent="0" algn="ctr">
              <a:buNone/>
              <a:defRPr sz="2078"/>
            </a:lvl6pPr>
            <a:lvl7pPr marL="3561971" indent="0" algn="ctr">
              <a:buNone/>
              <a:defRPr sz="2078"/>
            </a:lvl7pPr>
            <a:lvl8pPr marL="4155634" indent="0" algn="ctr">
              <a:buNone/>
              <a:defRPr sz="2078"/>
            </a:lvl8pPr>
            <a:lvl9pPr marL="4749295" indent="0" algn="ctr">
              <a:buNone/>
              <a:defRPr sz="2078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908" y="1501991"/>
            <a:ext cx="10733558" cy="4690459"/>
          </a:xfrm>
          <a:prstGeom prst="rect">
            <a:avLst/>
          </a:prstGeom>
        </p:spPr>
        <p:txBody>
          <a:bodyPr lIns="0" tIns="0" rIns="0" bIns="0"/>
          <a:lstStyle>
            <a:lvl1pPr marL="12368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7937" algn="ctr"/>
              </a:tabLst>
              <a:defRPr sz="17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639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9" baseline="0"/>
            </a:lvl2pPr>
            <a:lvl3pPr marL="525639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9" baseline="0"/>
            </a:lvl3pPr>
            <a:lvl4pPr marL="525639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9" baseline="0"/>
            </a:lvl4pPr>
            <a:lvl5pPr marL="525639" indent="-171091">
              <a:buFont typeface="Arial" panose="020B0604020202020204" pitchFamily="34" charset="0"/>
              <a:buChar char="•"/>
              <a:tabLst>
                <a:tab pos="1207937" algn="ctr"/>
              </a:tabLst>
              <a:defRPr sz="1299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8617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2870555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探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"/>
            <a:ext cx="12196763" cy="5602265"/>
          </a:xfrm>
          <a:prstGeom prst="rect">
            <a:avLst/>
          </a:prstGeom>
        </p:spPr>
      </p:pic>
      <p:sp>
        <p:nvSpPr>
          <p:cNvPr id="7" name="L 形 6"/>
          <p:cNvSpPr/>
          <p:nvPr userDrawn="1"/>
        </p:nvSpPr>
        <p:spPr>
          <a:xfrm rot="5400000">
            <a:off x="7853942" y="2130562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746"/>
            <a:endParaRPr kumimoji="1" lang="zh-CN" altLang="en-US" sz="900">
              <a:solidFill>
                <a:srgbClr val="1D1D1A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227DEE9-8BE9-0D49-BF96-9E83C5312E0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8998" y="907096"/>
            <a:ext cx="6559809" cy="690255"/>
          </a:xfrm>
          <a:prstGeom prst="rect">
            <a:avLst/>
          </a:prstGeom>
          <a:ln>
            <a:noFill/>
            <a:prstDash val="dash"/>
          </a:ln>
        </p:spPr>
        <p:txBody>
          <a:bodyPr lIns="0" tIns="0" rIns="0" bIns="0" anchor="t">
            <a:normAutofit/>
          </a:bodyPr>
          <a:lstStyle>
            <a:lvl1pPr algn="l">
              <a:defRPr sz="3198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F43DA98-D48D-6947-95EF-BA3B05E688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</p:spPr>
        <p:txBody>
          <a:bodyPr/>
          <a:lstStyle>
            <a:lvl1pPr>
              <a:defRPr sz="1398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6972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14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993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9"/>
              </a:lnSpc>
              <a:spcBef>
                <a:spcPts val="0"/>
              </a:spcBef>
              <a:buNone/>
              <a:defRPr sz="319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722" indent="0" algn="ctr">
              <a:buNone/>
              <a:defRPr sz="2597"/>
            </a:lvl2pPr>
            <a:lvl3pPr marL="1187441" indent="0" algn="ctr">
              <a:buNone/>
              <a:defRPr sz="2338"/>
            </a:lvl3pPr>
            <a:lvl4pPr marL="1781165" indent="0" algn="ctr">
              <a:buNone/>
              <a:defRPr sz="2079"/>
            </a:lvl4pPr>
            <a:lvl5pPr marL="2374885" indent="0" algn="ctr">
              <a:buNone/>
              <a:defRPr sz="2079"/>
            </a:lvl5pPr>
            <a:lvl6pPr marL="2968606" indent="0" algn="ctr">
              <a:buNone/>
              <a:defRPr sz="2079"/>
            </a:lvl6pPr>
            <a:lvl7pPr marL="3562327" indent="0" algn="ctr">
              <a:buNone/>
              <a:defRPr sz="2079"/>
            </a:lvl7pPr>
            <a:lvl8pPr marL="4156050" indent="0" algn="ctr">
              <a:buNone/>
              <a:defRPr sz="2079"/>
            </a:lvl8pPr>
            <a:lvl9pPr marL="4749770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908" y="1501990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2370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8057" algn="ctr"/>
              </a:tabLst>
              <a:defRPr sz="1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692" indent="-171108">
              <a:buFont typeface="Arial" panose="020B0604020202020204" pitchFamily="34" charset="0"/>
              <a:buChar char="•"/>
              <a:tabLst>
                <a:tab pos="1208057" algn="ctr"/>
              </a:tabLst>
              <a:defRPr sz="1299" baseline="0"/>
            </a:lvl2pPr>
            <a:lvl3pPr marL="525692" indent="-171108">
              <a:buFont typeface="Arial" panose="020B0604020202020204" pitchFamily="34" charset="0"/>
              <a:buChar char="•"/>
              <a:tabLst>
                <a:tab pos="1208057" algn="ctr"/>
              </a:tabLst>
              <a:defRPr sz="1299" baseline="0"/>
            </a:lvl3pPr>
            <a:lvl4pPr marL="525692" indent="-171108">
              <a:buFont typeface="Arial" panose="020B0604020202020204" pitchFamily="34" charset="0"/>
              <a:buChar char="•"/>
              <a:tabLst>
                <a:tab pos="1208057" algn="ctr"/>
              </a:tabLst>
              <a:defRPr sz="1299" baseline="0"/>
            </a:lvl4pPr>
            <a:lvl5pPr marL="525692" indent="-171108">
              <a:buFont typeface="Arial" panose="020B0604020202020204" pitchFamily="34" charset="0"/>
              <a:buChar char="•"/>
              <a:tabLst>
                <a:tab pos="1208057" algn="ctr"/>
              </a:tabLst>
              <a:defRPr sz="1299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4701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088462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解决方案模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>
            <a:extLst>
              <a:ext uri="{FF2B5EF4-FFF2-40B4-BE49-F238E27FC236}">
                <a16:creationId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0983" y="210381"/>
            <a:ext cx="11594798" cy="491517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6"/>
              </a:lnSpc>
              <a:spcBef>
                <a:spcPts val="0"/>
              </a:spcBef>
              <a:buNone/>
              <a:defRPr sz="2796" b="1" baseline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2952" indent="0" algn="ctr">
              <a:buNone/>
              <a:defRPr sz="2594"/>
            </a:lvl2pPr>
            <a:lvl3pPr marL="1185897" indent="0" algn="ctr">
              <a:buNone/>
              <a:defRPr sz="2336"/>
            </a:lvl3pPr>
            <a:lvl4pPr marL="1778851" indent="0" algn="ctr">
              <a:buNone/>
              <a:defRPr sz="2077"/>
            </a:lvl4pPr>
            <a:lvl5pPr marL="2371801" indent="0" algn="ctr">
              <a:buNone/>
              <a:defRPr sz="2077"/>
            </a:lvl5pPr>
            <a:lvl6pPr marL="2964748" indent="0" algn="ctr">
              <a:buNone/>
              <a:defRPr sz="2077"/>
            </a:lvl6pPr>
            <a:lvl7pPr marL="3557698" indent="0" algn="ctr">
              <a:buNone/>
              <a:defRPr sz="2077"/>
            </a:lvl7pPr>
            <a:lvl8pPr marL="4150651" indent="0" algn="ctr">
              <a:buNone/>
              <a:defRPr sz="2077"/>
            </a:lvl8pPr>
            <a:lvl9pPr marL="4743597" indent="0" algn="ctr">
              <a:buNone/>
              <a:defRPr sz="2077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314268" y="6525433"/>
            <a:ext cx="490837" cy="117725"/>
          </a:xfrm>
          <a:prstGeom prst="rect">
            <a:avLst/>
          </a:prstGeom>
        </p:spPr>
        <p:txBody>
          <a:bodyPr/>
          <a:lstStyle/>
          <a:p>
            <a:pPr algn="ctr" defTabSz="913838">
              <a:defRPr/>
            </a:pPr>
            <a:r>
              <a:rPr lang="en-US" altLang="zh-CN">
                <a:solidFill>
                  <a:srgbClr val="000000"/>
                </a:solidFill>
                <a:latin typeface="Trebuchet MS" pitchFamily="34" charset="0"/>
                <a:ea typeface="华文细黑" pitchFamily="2" charset="-122"/>
              </a:rPr>
              <a:t>Page&lt;#&gt;</a:t>
            </a:r>
            <a:endParaRPr lang="en-GB" altLang="zh-CN" dirty="0">
              <a:solidFill>
                <a:srgbClr val="000000"/>
              </a:solidFill>
              <a:latin typeface="Trebuchet MS" pitchFamily="34" charset="0"/>
              <a:ea typeface="华文细黑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7889184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0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5999" y="6319870"/>
            <a:ext cx="1269075" cy="271153"/>
          </a:xfrm>
          <a:prstGeom prst="rect">
            <a:avLst/>
          </a:prstGeom>
        </p:spPr>
      </p:pic>
      <p:sp>
        <p:nvSpPr>
          <p:cNvPr id="7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28543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Proprietary – Restricted Distribution</a:t>
            </a:r>
          </a:p>
        </p:txBody>
      </p:sp>
      <p:sp>
        <p:nvSpPr>
          <p:cNvPr id="8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3445064"/>
      </p:ext>
    </p:extLst>
  </p:cSld>
  <p:clrMapOvr>
    <a:masterClrMapping/>
  </p:clrMapOvr>
  <p:transition spd="med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20363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30144003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222363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69228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tiff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image" Target="../media/image6.tiff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3" Type="http://schemas.openxmlformats.org/officeDocument/2006/relationships/slideLayout" Target="../slideLayouts/slideLayout74.xml"/><Relationship Id="rId21" Type="http://schemas.openxmlformats.org/officeDocument/2006/relationships/image" Target="../media/image6.tiff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0" Type="http://schemas.openxmlformats.org/officeDocument/2006/relationships/theme" Target="../theme/theme12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81.xml"/><Relationship Id="rId19" Type="http://schemas.openxmlformats.org/officeDocument/2006/relationships/slideLayout" Target="../slideLayouts/slideLayout90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theme" Target="../theme/theme13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4" Type="http://schemas.openxmlformats.org/officeDocument/2006/relationships/image" Target="../media/image6.tiff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5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5" Type="http://schemas.openxmlformats.org/officeDocument/2006/relationships/image" Target="../media/image7.png"/><Relationship Id="rId4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theme" Target="../theme/theme15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4" Type="http://schemas.openxmlformats.org/officeDocument/2006/relationships/image" Target="../media/image6.tiff"/></Relationships>
</file>

<file path=ppt/slideMasters/_rels/slideMaster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theme" Target="../theme/theme17.xml"/><Relationship Id="rId1" Type="http://schemas.openxmlformats.org/officeDocument/2006/relationships/slideLayout" Target="../slideLayouts/slideLayout98.xml"/><Relationship Id="rId4" Type="http://schemas.openxmlformats.org/officeDocument/2006/relationships/image" Target="../media/image6.tiff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theme" Target="../theme/theme18.xml"/><Relationship Id="rId1" Type="http://schemas.openxmlformats.org/officeDocument/2006/relationships/slideLayout" Target="../slideLayouts/slideLayout99.xml"/><Relationship Id="rId4" Type="http://schemas.openxmlformats.org/officeDocument/2006/relationships/image" Target="../media/image6.tiff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theme" Target="../theme/theme19.xml"/><Relationship Id="rId1" Type="http://schemas.openxmlformats.org/officeDocument/2006/relationships/slideLayout" Target="../slideLayouts/slideLayout100.xml"/><Relationship Id="rId4" Type="http://schemas.openxmlformats.org/officeDocument/2006/relationships/image" Target="../media/image6.tif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tiff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theme" Target="../theme/theme20.xml"/><Relationship Id="rId1" Type="http://schemas.openxmlformats.org/officeDocument/2006/relationships/slideLayout" Target="../slideLayouts/slideLayout101.xml"/><Relationship Id="rId4" Type="http://schemas.openxmlformats.org/officeDocument/2006/relationships/image" Target="../media/image6.tiff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theme" Target="../theme/theme21.xml"/><Relationship Id="rId1" Type="http://schemas.openxmlformats.org/officeDocument/2006/relationships/slideLayout" Target="../slideLayouts/slideLayout102.xml"/><Relationship Id="rId4" Type="http://schemas.openxmlformats.org/officeDocument/2006/relationships/image" Target="../media/image6.tiff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theme" Target="../theme/theme22.xml"/><Relationship Id="rId1" Type="http://schemas.openxmlformats.org/officeDocument/2006/relationships/slideLayout" Target="../slideLayouts/slideLayout103.xml"/></Relationships>
</file>

<file path=ppt/slideMasters/_rels/slideMaster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theme" Target="../theme/theme23.xml"/></Relationships>
</file>

<file path=ppt/slideMasters/_rels/slideMaster2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6.xml"/><Relationship Id="rId18" Type="http://schemas.openxmlformats.org/officeDocument/2006/relationships/slideLayout" Target="../slideLayouts/slideLayout121.xml"/><Relationship Id="rId26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106.xml"/><Relationship Id="rId21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17" Type="http://schemas.openxmlformats.org/officeDocument/2006/relationships/slideLayout" Target="../slideLayouts/slideLayout120.xml"/><Relationship Id="rId25" Type="http://schemas.openxmlformats.org/officeDocument/2006/relationships/slideLayout" Target="../slideLayouts/slideLayout128.xml"/><Relationship Id="rId33" Type="http://schemas.openxmlformats.org/officeDocument/2006/relationships/image" Target="../media/image6.tiff"/><Relationship Id="rId2" Type="http://schemas.openxmlformats.org/officeDocument/2006/relationships/slideLayout" Target="../slideLayouts/slideLayout105.xml"/><Relationship Id="rId16" Type="http://schemas.openxmlformats.org/officeDocument/2006/relationships/slideLayout" Target="../slideLayouts/slideLayout119.xml"/><Relationship Id="rId20" Type="http://schemas.openxmlformats.org/officeDocument/2006/relationships/slideLayout" Target="../slideLayouts/slideLayout123.xml"/><Relationship Id="rId29" Type="http://schemas.openxmlformats.org/officeDocument/2006/relationships/slideLayout" Target="../slideLayouts/slideLayout132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24" Type="http://schemas.openxmlformats.org/officeDocument/2006/relationships/slideLayout" Target="../slideLayouts/slideLayout127.xml"/><Relationship Id="rId32" Type="http://schemas.openxmlformats.org/officeDocument/2006/relationships/theme" Target="../theme/theme24.xml"/><Relationship Id="rId5" Type="http://schemas.openxmlformats.org/officeDocument/2006/relationships/slideLayout" Target="../slideLayouts/slideLayout108.xml"/><Relationship Id="rId15" Type="http://schemas.openxmlformats.org/officeDocument/2006/relationships/slideLayout" Target="../slideLayouts/slideLayout118.xml"/><Relationship Id="rId23" Type="http://schemas.openxmlformats.org/officeDocument/2006/relationships/slideLayout" Target="../slideLayouts/slideLayout126.xml"/><Relationship Id="rId28" Type="http://schemas.openxmlformats.org/officeDocument/2006/relationships/slideLayout" Target="../slideLayouts/slideLayout131.xml"/><Relationship Id="rId10" Type="http://schemas.openxmlformats.org/officeDocument/2006/relationships/slideLayout" Target="../slideLayouts/slideLayout113.xml"/><Relationship Id="rId19" Type="http://schemas.openxmlformats.org/officeDocument/2006/relationships/slideLayout" Target="../slideLayouts/slideLayout122.xml"/><Relationship Id="rId31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slideLayout" Target="../slideLayouts/slideLayout117.xml"/><Relationship Id="rId22" Type="http://schemas.openxmlformats.org/officeDocument/2006/relationships/slideLayout" Target="../slideLayouts/slideLayout125.xml"/><Relationship Id="rId27" Type="http://schemas.openxmlformats.org/officeDocument/2006/relationships/slideLayout" Target="../slideLayouts/slideLayout130.xml"/><Relationship Id="rId30" Type="http://schemas.openxmlformats.org/officeDocument/2006/relationships/slideLayout" Target="../slideLayouts/slideLayout133.xml"/><Relationship Id="rId8" Type="http://schemas.openxmlformats.org/officeDocument/2006/relationships/slideLayout" Target="../slideLayouts/slideLayout111.xml"/></Relationships>
</file>

<file path=ppt/slideMasters/_rels/slideMaster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theme" Target="../theme/theme25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18" Type="http://schemas.openxmlformats.org/officeDocument/2006/relationships/slideLayout" Target="../slideLayouts/slideLayout152.xml"/><Relationship Id="rId26" Type="http://schemas.openxmlformats.org/officeDocument/2006/relationships/slideLayout" Target="../slideLayouts/slideLayout160.xml"/><Relationship Id="rId3" Type="http://schemas.openxmlformats.org/officeDocument/2006/relationships/slideLayout" Target="../slideLayouts/slideLayout137.xml"/><Relationship Id="rId21" Type="http://schemas.openxmlformats.org/officeDocument/2006/relationships/slideLayout" Target="../slideLayouts/slideLayout155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slideLayout" Target="../slideLayouts/slideLayout151.xml"/><Relationship Id="rId25" Type="http://schemas.openxmlformats.org/officeDocument/2006/relationships/slideLayout" Target="../slideLayouts/slideLayout159.xml"/><Relationship Id="rId2" Type="http://schemas.openxmlformats.org/officeDocument/2006/relationships/slideLayout" Target="../slideLayouts/slideLayout136.xml"/><Relationship Id="rId16" Type="http://schemas.openxmlformats.org/officeDocument/2006/relationships/slideLayout" Target="../slideLayouts/slideLayout150.xml"/><Relationship Id="rId20" Type="http://schemas.openxmlformats.org/officeDocument/2006/relationships/slideLayout" Target="../slideLayouts/slideLayout154.xml"/><Relationship Id="rId29" Type="http://schemas.openxmlformats.org/officeDocument/2006/relationships/slideLayout" Target="../slideLayouts/slideLayout163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24" Type="http://schemas.openxmlformats.org/officeDocument/2006/relationships/slideLayout" Target="../slideLayouts/slideLayout158.xml"/><Relationship Id="rId32" Type="http://schemas.openxmlformats.org/officeDocument/2006/relationships/image" Target="../media/image6.tiff"/><Relationship Id="rId5" Type="http://schemas.openxmlformats.org/officeDocument/2006/relationships/slideLayout" Target="../slideLayouts/slideLayout139.xml"/><Relationship Id="rId15" Type="http://schemas.openxmlformats.org/officeDocument/2006/relationships/slideLayout" Target="../slideLayouts/slideLayout149.xml"/><Relationship Id="rId23" Type="http://schemas.openxmlformats.org/officeDocument/2006/relationships/slideLayout" Target="../slideLayouts/slideLayout157.xml"/><Relationship Id="rId28" Type="http://schemas.openxmlformats.org/officeDocument/2006/relationships/slideLayout" Target="../slideLayouts/slideLayout162.xml"/><Relationship Id="rId10" Type="http://schemas.openxmlformats.org/officeDocument/2006/relationships/slideLayout" Target="../slideLayouts/slideLayout144.xml"/><Relationship Id="rId19" Type="http://schemas.openxmlformats.org/officeDocument/2006/relationships/slideLayout" Target="../slideLayouts/slideLayout153.xml"/><Relationship Id="rId31" Type="http://schemas.openxmlformats.org/officeDocument/2006/relationships/theme" Target="../theme/theme26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Relationship Id="rId22" Type="http://schemas.openxmlformats.org/officeDocument/2006/relationships/slideLayout" Target="../slideLayouts/slideLayout156.xml"/><Relationship Id="rId27" Type="http://schemas.openxmlformats.org/officeDocument/2006/relationships/slideLayout" Target="../slideLayouts/slideLayout161.xml"/><Relationship Id="rId30" Type="http://schemas.openxmlformats.org/officeDocument/2006/relationships/slideLayout" Target="../slideLayouts/slideLayout164.xml"/></Relationships>
</file>

<file path=ppt/slideMasters/_rels/slideMaster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tiff"/><Relationship Id="rId2" Type="http://schemas.openxmlformats.org/officeDocument/2006/relationships/theme" Target="../theme/theme27.xml"/><Relationship Id="rId1" Type="http://schemas.openxmlformats.org/officeDocument/2006/relationships/slideLayout" Target="../slideLayouts/slideLayout165.xml"/></Relationships>
</file>

<file path=ppt/slideMasters/_rels/slideMaster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theme" Target="../theme/theme28.xml"/><Relationship Id="rId1" Type="http://schemas.openxmlformats.org/officeDocument/2006/relationships/slideLayout" Target="../slideLayouts/slideLayout166.xml"/></Relationships>
</file>

<file path=ppt/slideMasters/_rels/slideMaster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tiff"/><Relationship Id="rId1" Type="http://schemas.openxmlformats.org/officeDocument/2006/relationships/theme" Target="../theme/theme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image" Target="../media/image6.tiff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13" Type="http://schemas.openxmlformats.org/officeDocument/2006/relationships/slideLayout" Target="../slideLayouts/slideLayout179.xml"/><Relationship Id="rId18" Type="http://schemas.openxmlformats.org/officeDocument/2006/relationships/slideLayout" Target="../slideLayouts/slideLayout184.xml"/><Relationship Id="rId26" Type="http://schemas.openxmlformats.org/officeDocument/2006/relationships/slideLayout" Target="../slideLayouts/slideLayout192.xml"/><Relationship Id="rId3" Type="http://schemas.openxmlformats.org/officeDocument/2006/relationships/slideLayout" Target="../slideLayouts/slideLayout169.xml"/><Relationship Id="rId21" Type="http://schemas.openxmlformats.org/officeDocument/2006/relationships/slideLayout" Target="../slideLayouts/slideLayout187.xml"/><Relationship Id="rId7" Type="http://schemas.openxmlformats.org/officeDocument/2006/relationships/slideLayout" Target="../slideLayouts/slideLayout173.xml"/><Relationship Id="rId12" Type="http://schemas.openxmlformats.org/officeDocument/2006/relationships/slideLayout" Target="../slideLayouts/slideLayout178.xml"/><Relationship Id="rId17" Type="http://schemas.openxmlformats.org/officeDocument/2006/relationships/slideLayout" Target="../slideLayouts/slideLayout183.xml"/><Relationship Id="rId25" Type="http://schemas.openxmlformats.org/officeDocument/2006/relationships/slideLayout" Target="../slideLayouts/slideLayout191.xml"/><Relationship Id="rId2" Type="http://schemas.openxmlformats.org/officeDocument/2006/relationships/slideLayout" Target="../slideLayouts/slideLayout168.xml"/><Relationship Id="rId16" Type="http://schemas.openxmlformats.org/officeDocument/2006/relationships/slideLayout" Target="../slideLayouts/slideLayout182.xml"/><Relationship Id="rId20" Type="http://schemas.openxmlformats.org/officeDocument/2006/relationships/slideLayout" Target="../slideLayouts/slideLayout186.xml"/><Relationship Id="rId29" Type="http://schemas.openxmlformats.org/officeDocument/2006/relationships/slideLayout" Target="../slideLayouts/slideLayout195.xml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7.xml"/><Relationship Id="rId24" Type="http://schemas.openxmlformats.org/officeDocument/2006/relationships/slideLayout" Target="../slideLayouts/slideLayout190.xml"/><Relationship Id="rId32" Type="http://schemas.openxmlformats.org/officeDocument/2006/relationships/image" Target="../media/image6.tiff"/><Relationship Id="rId5" Type="http://schemas.openxmlformats.org/officeDocument/2006/relationships/slideLayout" Target="../slideLayouts/slideLayout171.xml"/><Relationship Id="rId15" Type="http://schemas.openxmlformats.org/officeDocument/2006/relationships/slideLayout" Target="../slideLayouts/slideLayout181.xml"/><Relationship Id="rId23" Type="http://schemas.openxmlformats.org/officeDocument/2006/relationships/slideLayout" Target="../slideLayouts/slideLayout189.xml"/><Relationship Id="rId28" Type="http://schemas.openxmlformats.org/officeDocument/2006/relationships/slideLayout" Target="../slideLayouts/slideLayout194.xml"/><Relationship Id="rId10" Type="http://schemas.openxmlformats.org/officeDocument/2006/relationships/slideLayout" Target="../slideLayouts/slideLayout176.xml"/><Relationship Id="rId19" Type="http://schemas.openxmlformats.org/officeDocument/2006/relationships/slideLayout" Target="../slideLayouts/slideLayout185.xml"/><Relationship Id="rId31" Type="http://schemas.openxmlformats.org/officeDocument/2006/relationships/theme" Target="../theme/theme30.x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Relationship Id="rId14" Type="http://schemas.openxmlformats.org/officeDocument/2006/relationships/slideLayout" Target="../slideLayouts/slideLayout180.xml"/><Relationship Id="rId22" Type="http://schemas.openxmlformats.org/officeDocument/2006/relationships/slideLayout" Target="../slideLayouts/slideLayout188.xml"/><Relationship Id="rId27" Type="http://schemas.openxmlformats.org/officeDocument/2006/relationships/slideLayout" Target="../slideLayouts/slideLayout193.xml"/><Relationship Id="rId30" Type="http://schemas.openxmlformats.org/officeDocument/2006/relationships/slideLayout" Target="../slideLayouts/slideLayout19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image" Target="../media/image6.tiff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image" Target="../media/image6.tiff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theme" Target="../theme/theme7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tiff"/><Relationship Id="rId3" Type="http://schemas.openxmlformats.org/officeDocument/2006/relationships/slideLayout" Target="../slideLayouts/slideLayout51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tiff"/><Relationship Id="rId3" Type="http://schemas.openxmlformats.org/officeDocument/2006/relationships/slideLayout" Target="../slideLayouts/slideLayout57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19181AA-8E93-7743-ADEB-8A06A0DFC13A}"/>
              </a:ext>
            </a:extLst>
          </p:cNvPr>
          <p:cNvSpPr/>
          <p:nvPr userDrawn="1"/>
        </p:nvSpPr>
        <p:spPr>
          <a:xfrm>
            <a:off x="0" y="5590903"/>
            <a:ext cx="12196763" cy="126709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6E8B5C1-4D37-8442-902D-D86F9BBDE27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08751" y="5970991"/>
            <a:ext cx="2260800" cy="489278"/>
          </a:xfrm>
          <a:prstGeom prst="rect">
            <a:avLst/>
          </a:prstGeom>
        </p:spPr>
      </p:pic>
      <p:grpSp>
        <p:nvGrpSpPr>
          <p:cNvPr id="6" name="Group 87">
            <a:extLst>
              <a:ext uri="{FF2B5EF4-FFF2-40B4-BE49-F238E27FC236}">
                <a16:creationId xmlns:a16="http://schemas.microsoft.com/office/drawing/2014/main" id="{21F4BF77-C412-461F-8010-C05ED942274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0" y="2625389"/>
            <a:ext cx="1967973" cy="4233515"/>
            <a:chOff x="5343885" y="-48857"/>
            <a:chExt cx="3271316" cy="7037279"/>
          </a:xfrm>
        </p:grpSpPr>
        <p:sp>
          <p:nvSpPr>
            <p:cNvPr id="7" name="矩形 13">
              <a:extLst>
                <a:ext uri="{FF2B5EF4-FFF2-40B4-BE49-F238E27FC236}">
                  <a16:creationId xmlns:a16="http://schemas.microsoft.com/office/drawing/2014/main" id="{E9AB6BF5-1C3F-4468-87FD-696D48BAE4BF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8" name="文本框 15">
              <a:extLst>
                <a:ext uri="{FF2B5EF4-FFF2-40B4-BE49-F238E27FC236}">
                  <a16:creationId xmlns:a16="http://schemas.microsoft.com/office/drawing/2014/main" id="{DD13B1B9-A358-4D4E-A11F-606DCA1C8CFF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algn="l">
                <a:lnSpc>
                  <a:spcPct val="100000"/>
                </a:lnSpc>
              </a:pPr>
              <a:r>
                <a:rPr kumimoji="1" lang="zh-CN" altLang="en-US" sz="800" b="0" i="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9" name="矩形 13">
              <a:extLst>
                <a:ext uri="{FF2B5EF4-FFF2-40B4-BE49-F238E27FC236}">
                  <a16:creationId xmlns:a16="http://schemas.microsoft.com/office/drawing/2014/main" id="{74A6376B-510A-448D-B91A-A3D68C689322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10" name="矩形 13">
              <a:extLst>
                <a:ext uri="{FF2B5EF4-FFF2-40B4-BE49-F238E27FC236}">
                  <a16:creationId xmlns:a16="http://schemas.microsoft.com/office/drawing/2014/main" id="{9FF0C9A1-2090-42E0-B46D-AC66107A5C01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11" name="矩形 13">
              <a:extLst>
                <a:ext uri="{FF2B5EF4-FFF2-40B4-BE49-F238E27FC236}">
                  <a16:creationId xmlns:a16="http://schemas.microsoft.com/office/drawing/2014/main" id="{D4349E01-B293-4F50-AB21-19BE4F75A566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78" rtl="0" eaLnBrk="1" fontAlgn="auto" latinLnBrk="0" hangingPunct="1">
                <a:lnSpc>
                  <a:spcPts val="6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12" name="矩形 13">
              <a:extLst>
                <a:ext uri="{FF2B5EF4-FFF2-40B4-BE49-F238E27FC236}">
                  <a16:creationId xmlns:a16="http://schemas.microsoft.com/office/drawing/2014/main" id="{6EAFFF02-3511-4114-9FBF-4D16F6060C6C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13" name="矩形 13">
              <a:extLst>
                <a:ext uri="{FF2B5EF4-FFF2-40B4-BE49-F238E27FC236}">
                  <a16:creationId xmlns:a16="http://schemas.microsoft.com/office/drawing/2014/main" id="{D2465823-4748-42EF-A7DD-EAC195DAD743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65D991AE-FF7F-4757-B9EC-8A454ACBB2C0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  <a:t>PANTONE 185C</a:t>
              </a:r>
            </a:p>
            <a:p>
              <a:pPr algn="ctr">
                <a:lnSpc>
                  <a:spcPts val="620"/>
                </a:lnSpc>
                <a:spcBef>
                  <a:spcPts val="0"/>
                </a:spcBef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15" name="文本框 15">
              <a:extLst>
                <a:ext uri="{FF2B5EF4-FFF2-40B4-BE49-F238E27FC236}">
                  <a16:creationId xmlns:a16="http://schemas.microsoft.com/office/drawing/2014/main" id="{949296CF-649C-46F7-96A8-B8607CC964C0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algn="l">
                <a:lnSpc>
                  <a:spcPct val="100000"/>
                </a:lnSpc>
              </a:pPr>
              <a:r>
                <a:rPr kumimoji="1" lang="zh-CN" altLang="en-US" sz="800" b="0" i="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16" name="矩形 13">
              <a:extLst>
                <a:ext uri="{FF2B5EF4-FFF2-40B4-BE49-F238E27FC236}">
                  <a16:creationId xmlns:a16="http://schemas.microsoft.com/office/drawing/2014/main" id="{F6347EF4-EEC0-400F-B086-59F18A81515A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  <a:t>PANTONE 186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17" name="矩形 13">
              <a:extLst>
                <a:ext uri="{FF2B5EF4-FFF2-40B4-BE49-F238E27FC236}">
                  <a16:creationId xmlns:a16="http://schemas.microsoft.com/office/drawing/2014/main" id="{26EB674F-B18A-49A0-92F8-449D22868615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8" name="矩形 13">
              <a:extLst>
                <a:ext uri="{FF2B5EF4-FFF2-40B4-BE49-F238E27FC236}">
                  <a16:creationId xmlns:a16="http://schemas.microsoft.com/office/drawing/2014/main" id="{24611257-D71D-4AA6-9863-46075A55FEB0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9" name="矩形 13">
              <a:extLst>
                <a:ext uri="{FF2B5EF4-FFF2-40B4-BE49-F238E27FC236}">
                  <a16:creationId xmlns:a16="http://schemas.microsoft.com/office/drawing/2014/main" id="{E56A6365-32CA-4DF7-AC58-20A43B213BC5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20" name="矩形 13">
              <a:extLst>
                <a:ext uri="{FF2B5EF4-FFF2-40B4-BE49-F238E27FC236}">
                  <a16:creationId xmlns:a16="http://schemas.microsoft.com/office/drawing/2014/main" id="{81807CCD-D87B-420D-BB1F-833F3D16CB5F}"/>
                </a:ext>
              </a:extLst>
            </p:cNvPr>
            <p:cNvSpPr/>
            <p:nvPr userDrawn="1"/>
          </p:nvSpPr>
          <p:spPr>
            <a:xfrm>
              <a:off x="6184543" y="4866463"/>
              <a:ext cx="791510" cy="664398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21" name="矩形 13">
              <a:extLst>
                <a:ext uri="{FF2B5EF4-FFF2-40B4-BE49-F238E27FC236}">
                  <a16:creationId xmlns:a16="http://schemas.microsoft.com/office/drawing/2014/main" id="{C9BA4375-6D6F-4385-A04D-8D01A17A862A}"/>
                </a:ext>
              </a:extLst>
            </p:cNvPr>
            <p:cNvSpPr/>
            <p:nvPr userDrawn="1"/>
          </p:nvSpPr>
          <p:spPr>
            <a:xfrm>
              <a:off x="6182308" y="4134866"/>
              <a:ext cx="791510" cy="664398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22" name="矩形 13">
              <a:extLst>
                <a:ext uri="{FF2B5EF4-FFF2-40B4-BE49-F238E27FC236}">
                  <a16:creationId xmlns:a16="http://schemas.microsoft.com/office/drawing/2014/main" id="{BC7945EC-1EE5-4DA4-8B39-C76AB5FF3536}"/>
                </a:ext>
              </a:extLst>
            </p:cNvPr>
            <p:cNvSpPr/>
            <p:nvPr userDrawn="1"/>
          </p:nvSpPr>
          <p:spPr>
            <a:xfrm>
              <a:off x="6177324" y="5596166"/>
              <a:ext cx="791510" cy="664398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23" name="矩形 13">
              <a:extLst>
                <a:ext uri="{FF2B5EF4-FFF2-40B4-BE49-F238E27FC236}">
                  <a16:creationId xmlns:a16="http://schemas.microsoft.com/office/drawing/2014/main" id="{4976E3D3-3687-43A4-AD60-E2884505C28A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24" name="矩形 13">
              <a:extLst>
                <a:ext uri="{FF2B5EF4-FFF2-40B4-BE49-F238E27FC236}">
                  <a16:creationId xmlns:a16="http://schemas.microsoft.com/office/drawing/2014/main" id="{1018B8C3-2458-4F7F-A2F5-2BC6B7166F96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25" name="矩形 13">
              <a:extLst>
                <a:ext uri="{FF2B5EF4-FFF2-40B4-BE49-F238E27FC236}">
                  <a16:creationId xmlns:a16="http://schemas.microsoft.com/office/drawing/2014/main" id="{851C84DF-61B8-4F53-811A-B0925B4F707E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26" name="矩形 13">
              <a:extLst>
                <a:ext uri="{FF2B5EF4-FFF2-40B4-BE49-F238E27FC236}">
                  <a16:creationId xmlns:a16="http://schemas.microsoft.com/office/drawing/2014/main" id="{4584B533-907C-40EC-81DD-32D7FDDDE97F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78" rtl="0" eaLnBrk="1" fontAlgn="auto" latinLnBrk="0" hangingPunct="1">
                <a:lnSpc>
                  <a:spcPts val="6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27" name="矩形 13">
              <a:extLst>
                <a:ext uri="{FF2B5EF4-FFF2-40B4-BE49-F238E27FC236}">
                  <a16:creationId xmlns:a16="http://schemas.microsoft.com/office/drawing/2014/main" id="{448331A3-E39E-4975-9D79-E960B969BC17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8" name="矩形 13">
              <a:extLst>
                <a:ext uri="{FF2B5EF4-FFF2-40B4-BE49-F238E27FC236}">
                  <a16:creationId xmlns:a16="http://schemas.microsoft.com/office/drawing/2014/main" id="{09F389E5-8F7D-4168-924B-E555001EA16D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29" name="矩形 13">
              <a:extLst>
                <a:ext uri="{FF2B5EF4-FFF2-40B4-BE49-F238E27FC236}">
                  <a16:creationId xmlns:a16="http://schemas.microsoft.com/office/drawing/2014/main" id="{53947E27-B9F9-4B78-A606-12EACE7281E4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30" name="矩形 13">
              <a:extLst>
                <a:ext uri="{FF2B5EF4-FFF2-40B4-BE49-F238E27FC236}">
                  <a16:creationId xmlns:a16="http://schemas.microsoft.com/office/drawing/2014/main" id="{54076663-EBEA-40C4-A0D8-33444BFF2B25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31" name="矩形 13">
              <a:extLst>
                <a:ext uri="{FF2B5EF4-FFF2-40B4-BE49-F238E27FC236}">
                  <a16:creationId xmlns:a16="http://schemas.microsoft.com/office/drawing/2014/main" id="{F6BA44EC-5F15-4EE5-981C-F6850BC23CF3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32" name="矩形 13">
              <a:extLst>
                <a:ext uri="{FF2B5EF4-FFF2-40B4-BE49-F238E27FC236}">
                  <a16:creationId xmlns:a16="http://schemas.microsoft.com/office/drawing/2014/main" id="{9776E34F-1C3B-4270-831C-4C2B7302AF90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33" name="矩形 13">
              <a:extLst>
                <a:ext uri="{FF2B5EF4-FFF2-40B4-BE49-F238E27FC236}">
                  <a16:creationId xmlns:a16="http://schemas.microsoft.com/office/drawing/2014/main" id="{5C2E7C58-B80C-40E7-88EA-EBBAC9B5CC5C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34" name="矩形 13">
              <a:extLst>
                <a:ext uri="{FF2B5EF4-FFF2-40B4-BE49-F238E27FC236}">
                  <a16:creationId xmlns:a16="http://schemas.microsoft.com/office/drawing/2014/main" id="{C6452EEF-3C89-4B09-855A-EDA0A1D6C5CB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78" rtl="0" eaLnBrk="1" fontAlgn="auto" latinLnBrk="0" hangingPunct="1">
                <a:lnSpc>
                  <a:spcPts val="6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35" name="矩形 13">
              <a:extLst>
                <a:ext uri="{FF2B5EF4-FFF2-40B4-BE49-F238E27FC236}">
                  <a16:creationId xmlns:a16="http://schemas.microsoft.com/office/drawing/2014/main" id="{F30A4D9A-61F9-4661-AF4E-203C81D43A6D}"/>
                </a:ext>
              </a:extLst>
            </p:cNvPr>
            <p:cNvSpPr/>
            <p:nvPr/>
          </p:nvSpPr>
          <p:spPr>
            <a:xfrm>
              <a:off x="7811114" y="3415851"/>
              <a:ext cx="791510" cy="664398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6" name="矩形 13">
              <a:extLst>
                <a:ext uri="{FF2B5EF4-FFF2-40B4-BE49-F238E27FC236}">
                  <a16:creationId xmlns:a16="http://schemas.microsoft.com/office/drawing/2014/main" id="{253266CF-720B-4CFF-B1C6-13ECE976409D}"/>
                </a:ext>
              </a:extLst>
            </p:cNvPr>
            <p:cNvSpPr/>
            <p:nvPr/>
          </p:nvSpPr>
          <p:spPr>
            <a:xfrm>
              <a:off x="7820945" y="4866463"/>
              <a:ext cx="791510" cy="664398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37" name="矩形 13">
              <a:extLst>
                <a:ext uri="{FF2B5EF4-FFF2-40B4-BE49-F238E27FC236}">
                  <a16:creationId xmlns:a16="http://schemas.microsoft.com/office/drawing/2014/main" id="{653E5AA7-B793-4F8F-9348-2F7C31A82E90}"/>
                </a:ext>
              </a:extLst>
            </p:cNvPr>
            <p:cNvSpPr/>
            <p:nvPr/>
          </p:nvSpPr>
          <p:spPr>
            <a:xfrm>
              <a:off x="7818707" y="4134866"/>
              <a:ext cx="791510" cy="664398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38" name="矩形 13">
              <a:extLst>
                <a:ext uri="{FF2B5EF4-FFF2-40B4-BE49-F238E27FC236}">
                  <a16:creationId xmlns:a16="http://schemas.microsoft.com/office/drawing/2014/main" id="{B14B80A7-DE7A-41FA-BAFC-8F93206BC062}"/>
                </a:ext>
              </a:extLst>
            </p:cNvPr>
            <p:cNvSpPr/>
            <p:nvPr/>
          </p:nvSpPr>
          <p:spPr>
            <a:xfrm>
              <a:off x="7823691" y="5596166"/>
              <a:ext cx="791510" cy="664398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190/233/238</a:t>
              </a:r>
            </a:p>
          </p:txBody>
        </p:sp>
        <p:sp>
          <p:nvSpPr>
            <p:cNvPr id="39" name="矩形 13">
              <a:extLst>
                <a:ext uri="{FF2B5EF4-FFF2-40B4-BE49-F238E27FC236}">
                  <a16:creationId xmlns:a16="http://schemas.microsoft.com/office/drawing/2014/main" id="{40D90805-051E-4956-8EB4-8CB40435A561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40" name="矩形 13">
              <a:extLst>
                <a:ext uri="{FF2B5EF4-FFF2-40B4-BE49-F238E27FC236}">
                  <a16:creationId xmlns:a16="http://schemas.microsoft.com/office/drawing/2014/main" id="{39039E1F-4B10-41B9-81FA-E1064B662B4A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41" name="矩形 13">
              <a:extLst>
                <a:ext uri="{FF2B5EF4-FFF2-40B4-BE49-F238E27FC236}">
                  <a16:creationId xmlns:a16="http://schemas.microsoft.com/office/drawing/2014/main" id="{6CB81DC7-8C14-414E-ABA8-49474FA3DCA2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0/0/0</a:t>
              </a:r>
            </a:p>
          </p:txBody>
        </p:sp>
        <p:sp>
          <p:nvSpPr>
            <p:cNvPr id="42" name="矩形 13">
              <a:extLst>
                <a:ext uri="{FF2B5EF4-FFF2-40B4-BE49-F238E27FC236}">
                  <a16:creationId xmlns:a16="http://schemas.microsoft.com/office/drawing/2014/main" id="{7A7F9633-710D-4CEB-B005-88BCC3900F7F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43" name="矩形 13">
              <a:extLst>
                <a:ext uri="{FF2B5EF4-FFF2-40B4-BE49-F238E27FC236}">
                  <a16:creationId xmlns:a16="http://schemas.microsoft.com/office/drawing/2014/main" id="{808D413A-BCB4-4E08-9F43-9B2F32B22834}"/>
                </a:ext>
              </a:extLst>
            </p:cNvPr>
            <p:cNvSpPr/>
            <p:nvPr userDrawn="1"/>
          </p:nvSpPr>
          <p:spPr>
            <a:xfrm>
              <a:off x="6445335" y="6324024"/>
              <a:ext cx="513579" cy="664398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44" name="矩形 13">
              <a:extLst>
                <a:ext uri="{FF2B5EF4-FFF2-40B4-BE49-F238E27FC236}">
                  <a16:creationId xmlns:a16="http://schemas.microsoft.com/office/drawing/2014/main" id="{4CFEF9EA-2724-488C-8C3E-CBEE3A1C0C52}"/>
                </a:ext>
              </a:extLst>
            </p:cNvPr>
            <p:cNvSpPr/>
            <p:nvPr userDrawn="1"/>
          </p:nvSpPr>
          <p:spPr>
            <a:xfrm>
              <a:off x="7003279" y="6324024"/>
              <a:ext cx="513579" cy="664398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45" name="矩形 13">
              <a:extLst>
                <a:ext uri="{FF2B5EF4-FFF2-40B4-BE49-F238E27FC236}">
                  <a16:creationId xmlns:a16="http://schemas.microsoft.com/office/drawing/2014/main" id="{20D3453E-0105-4314-8328-5286314B2251}"/>
                </a:ext>
              </a:extLst>
            </p:cNvPr>
            <p:cNvSpPr/>
            <p:nvPr userDrawn="1"/>
          </p:nvSpPr>
          <p:spPr>
            <a:xfrm>
              <a:off x="7551547" y="6324024"/>
              <a:ext cx="513579" cy="664398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46" name="矩形 13">
              <a:extLst>
                <a:ext uri="{FF2B5EF4-FFF2-40B4-BE49-F238E27FC236}">
                  <a16:creationId xmlns:a16="http://schemas.microsoft.com/office/drawing/2014/main" id="{211B93C2-46F7-4E90-BED1-41B3BFFCC80B}"/>
                </a:ext>
              </a:extLst>
            </p:cNvPr>
            <p:cNvSpPr/>
            <p:nvPr userDrawn="1"/>
          </p:nvSpPr>
          <p:spPr>
            <a:xfrm>
              <a:off x="8098559" y="6324024"/>
              <a:ext cx="513579" cy="66439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87104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4" r:id="rId4"/>
  </p:sldLayoutIdLst>
  <p:hf hdr="0" ftr="0" dt="0"/>
  <p:txStyles>
    <p:titleStyle>
      <a:lvl1pPr algn="l" defTabSz="914400" rtl="0" eaLnBrk="1" latinLnBrk="0" hangingPunct="1">
        <a:lnSpc>
          <a:spcPts val="3440"/>
        </a:lnSpc>
        <a:spcBef>
          <a:spcPct val="0"/>
        </a:spcBef>
        <a:buNone/>
        <a:defRPr sz="3200" kern="1200">
          <a:solidFill>
            <a:schemeClr val="tx1"/>
          </a:solidFill>
          <a:latin typeface="Microsoft YaHei" panose="020B0503020204020204" pitchFamily="34" charset="-122"/>
          <a:ea typeface="Microsoft YaHei" panose="020B0503020204020204" pitchFamily="34" charset="-122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000" kern="1200">
          <a:solidFill>
            <a:srgbClr val="1D1D1B"/>
          </a:solidFill>
          <a:latin typeface="Arial" panose="020B0604020202020204" pitchFamily="34" charset="0"/>
          <a:ea typeface="Microsoft YaHei" panose="020B0503020204020204" pitchFamily="34" charset="-122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56" userDrawn="1">
          <p15:clr>
            <a:srgbClr val="F26B43"/>
          </p15:clr>
        </p15:guide>
        <p15:guide id="2" pos="7216" userDrawn="1">
          <p15:clr>
            <a:srgbClr val="F26B43"/>
          </p15:clr>
        </p15:guide>
        <p15:guide id="3" orient="horz" pos="560" userDrawn="1">
          <p15:clr>
            <a:srgbClr val="F26B43"/>
          </p15:clr>
        </p15:guide>
        <p15:guide id="4" orient="horz" pos="728" userDrawn="1">
          <p15:clr>
            <a:srgbClr val="F26B43"/>
          </p15:clr>
        </p15:guide>
        <p15:guide id="5" orient="horz" pos="3968" userDrawn="1">
          <p15:clr>
            <a:srgbClr val="F26B43"/>
          </p15:clr>
        </p15:guide>
        <p15:guide id="6" orient="horz" pos="3800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8" y="6356939"/>
            <a:ext cx="35039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12"/>
            <a:r>
              <a:rPr lang="en-US" altLang="zh-CN" sz="9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Proprietary - Restricted Distribution</a:t>
            </a:r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2" y="6402808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493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90493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7333705-F8D6-2847-B3CB-F2FAB51E2A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0" y="2625391"/>
            <a:ext cx="1967973" cy="4233515"/>
            <a:chOff x="5343885" y="-48857"/>
            <a:chExt cx="3271316" cy="7037279"/>
          </a:xfrm>
        </p:grpSpPr>
        <p:sp>
          <p:nvSpPr>
            <p:cNvPr id="89" name="矩形 13">
              <a:extLst>
                <a:ext uri="{FF2B5EF4-FFF2-40B4-BE49-F238E27FC236}">
                  <a16:creationId xmlns:a16="http://schemas.microsoft.com/office/drawing/2014/main" id="{B14DFA89-D483-CF47-82CC-DD86D7CAB09E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90" name="文本框 15">
              <a:extLst>
                <a:ext uri="{FF2B5EF4-FFF2-40B4-BE49-F238E27FC236}">
                  <a16:creationId xmlns:a16="http://schemas.microsoft.com/office/drawing/2014/main" id="{8223ADA0-340A-794B-93B7-24AFF612A719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112"/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91" name="矩形 13">
              <a:extLst>
                <a:ext uri="{FF2B5EF4-FFF2-40B4-BE49-F238E27FC236}">
                  <a16:creationId xmlns:a16="http://schemas.microsoft.com/office/drawing/2014/main" id="{5F63E0E3-4F22-7948-AB1A-40A84ECA92EC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2" name="矩形 13">
              <a:extLst>
                <a:ext uri="{FF2B5EF4-FFF2-40B4-BE49-F238E27FC236}">
                  <a16:creationId xmlns:a16="http://schemas.microsoft.com/office/drawing/2014/main" id="{29C4A3C6-7C7B-7140-8F73-591E9F49143F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93" name="矩形 13">
              <a:extLst>
                <a:ext uri="{FF2B5EF4-FFF2-40B4-BE49-F238E27FC236}">
                  <a16:creationId xmlns:a16="http://schemas.microsoft.com/office/drawing/2014/main" id="{BE4C9A8D-46B0-5B40-BC47-DB6C4899227F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94" name="矩形 13">
              <a:extLst>
                <a:ext uri="{FF2B5EF4-FFF2-40B4-BE49-F238E27FC236}">
                  <a16:creationId xmlns:a16="http://schemas.microsoft.com/office/drawing/2014/main" id="{612F2ED4-F7A4-9E48-95E1-8D07B3BBE962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95" name="矩形 13">
              <a:extLst>
                <a:ext uri="{FF2B5EF4-FFF2-40B4-BE49-F238E27FC236}">
                  <a16:creationId xmlns:a16="http://schemas.microsoft.com/office/drawing/2014/main" id="{A9E1D476-C288-8945-A68A-1F20C557294B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6" name="矩形 13">
              <a:extLst>
                <a:ext uri="{FF2B5EF4-FFF2-40B4-BE49-F238E27FC236}">
                  <a16:creationId xmlns:a16="http://schemas.microsoft.com/office/drawing/2014/main" id="{42823EBB-E62E-F149-AC9A-09950051F283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5C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97" name="文本框 15">
              <a:extLst>
                <a:ext uri="{FF2B5EF4-FFF2-40B4-BE49-F238E27FC236}">
                  <a16:creationId xmlns:a16="http://schemas.microsoft.com/office/drawing/2014/main" id="{EA01C299-6FF2-3642-AAEC-A1DF62D9C654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112"/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98" name="矩形 13">
              <a:extLst>
                <a:ext uri="{FF2B5EF4-FFF2-40B4-BE49-F238E27FC236}">
                  <a16:creationId xmlns:a16="http://schemas.microsoft.com/office/drawing/2014/main" id="{B84AB502-165F-764A-9621-65CA8CBBEAEA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6C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99" name="矩形 13">
              <a:extLst>
                <a:ext uri="{FF2B5EF4-FFF2-40B4-BE49-F238E27FC236}">
                  <a16:creationId xmlns:a16="http://schemas.microsoft.com/office/drawing/2014/main" id="{CB8870E8-3E95-764C-B621-A168E194CC7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00" name="矩形 13">
              <a:extLst>
                <a:ext uri="{FF2B5EF4-FFF2-40B4-BE49-F238E27FC236}">
                  <a16:creationId xmlns:a16="http://schemas.microsoft.com/office/drawing/2014/main" id="{356EF69A-1936-544F-A95F-0664F4E186D5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01" name="矩形 13">
              <a:extLst>
                <a:ext uri="{FF2B5EF4-FFF2-40B4-BE49-F238E27FC236}">
                  <a16:creationId xmlns:a16="http://schemas.microsoft.com/office/drawing/2014/main" id="{03EBAB43-95A5-1C4A-8458-B86EB3D51FCA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02" name="矩形 13">
              <a:extLst>
                <a:ext uri="{FF2B5EF4-FFF2-40B4-BE49-F238E27FC236}">
                  <a16:creationId xmlns:a16="http://schemas.microsoft.com/office/drawing/2014/main" id="{371A8520-F934-304C-B57F-B49F768694E2}"/>
                </a:ext>
              </a:extLst>
            </p:cNvPr>
            <p:cNvSpPr/>
            <p:nvPr userDrawn="1"/>
          </p:nvSpPr>
          <p:spPr>
            <a:xfrm>
              <a:off x="6184543" y="4866463"/>
              <a:ext cx="791510" cy="664398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103" name="矩形 13">
              <a:extLst>
                <a:ext uri="{FF2B5EF4-FFF2-40B4-BE49-F238E27FC236}">
                  <a16:creationId xmlns:a16="http://schemas.microsoft.com/office/drawing/2014/main" id="{B83004D7-279B-C14E-9FCF-870FA1B74FDF}"/>
                </a:ext>
              </a:extLst>
            </p:cNvPr>
            <p:cNvSpPr/>
            <p:nvPr userDrawn="1"/>
          </p:nvSpPr>
          <p:spPr>
            <a:xfrm>
              <a:off x="6182308" y="4134866"/>
              <a:ext cx="791510" cy="664398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104" name="矩形 13">
              <a:extLst>
                <a:ext uri="{FF2B5EF4-FFF2-40B4-BE49-F238E27FC236}">
                  <a16:creationId xmlns:a16="http://schemas.microsoft.com/office/drawing/2014/main" id="{99635968-4E69-CC41-9D78-6DF253FE3035}"/>
                </a:ext>
              </a:extLst>
            </p:cNvPr>
            <p:cNvSpPr/>
            <p:nvPr userDrawn="1"/>
          </p:nvSpPr>
          <p:spPr>
            <a:xfrm>
              <a:off x="6177324" y="5596166"/>
              <a:ext cx="791510" cy="664398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105" name="矩形 13">
              <a:extLst>
                <a:ext uri="{FF2B5EF4-FFF2-40B4-BE49-F238E27FC236}">
                  <a16:creationId xmlns:a16="http://schemas.microsoft.com/office/drawing/2014/main" id="{BDBE4949-07B7-F046-AD95-68E4B0C11CCD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106" name="矩形 13">
              <a:extLst>
                <a:ext uri="{FF2B5EF4-FFF2-40B4-BE49-F238E27FC236}">
                  <a16:creationId xmlns:a16="http://schemas.microsoft.com/office/drawing/2014/main" id="{AA9F9E00-6A31-F14B-A2E4-79908835FD1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107" name="矩形 13">
              <a:extLst>
                <a:ext uri="{FF2B5EF4-FFF2-40B4-BE49-F238E27FC236}">
                  <a16:creationId xmlns:a16="http://schemas.microsoft.com/office/drawing/2014/main" id="{38715A31-485E-B744-B409-43F9F04B48F7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108" name="矩形 13">
              <a:extLst>
                <a:ext uri="{FF2B5EF4-FFF2-40B4-BE49-F238E27FC236}">
                  <a16:creationId xmlns:a16="http://schemas.microsoft.com/office/drawing/2014/main" id="{4AE1609B-25DD-2C4A-B05B-D18ADBC39C71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109" name="矩形 13">
              <a:extLst>
                <a:ext uri="{FF2B5EF4-FFF2-40B4-BE49-F238E27FC236}">
                  <a16:creationId xmlns:a16="http://schemas.microsoft.com/office/drawing/2014/main" id="{ECE90F9F-DBBC-0B49-A42C-8B62397E473E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0" name="矩形 13">
              <a:extLst>
                <a:ext uri="{FF2B5EF4-FFF2-40B4-BE49-F238E27FC236}">
                  <a16:creationId xmlns:a16="http://schemas.microsoft.com/office/drawing/2014/main" id="{D5B387BA-F8B8-B54E-966E-F24E271747C4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111" name="矩形 13">
              <a:extLst>
                <a:ext uri="{FF2B5EF4-FFF2-40B4-BE49-F238E27FC236}">
                  <a16:creationId xmlns:a16="http://schemas.microsoft.com/office/drawing/2014/main" id="{E6C9B99E-8C1C-2B49-B82E-3C754B8E5C02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112" name="矩形 13">
              <a:extLst>
                <a:ext uri="{FF2B5EF4-FFF2-40B4-BE49-F238E27FC236}">
                  <a16:creationId xmlns:a16="http://schemas.microsoft.com/office/drawing/2014/main" id="{0106BFA2-9DE1-3A42-A6C6-69BCE0FA34F4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113" name="矩形 13">
              <a:extLst>
                <a:ext uri="{FF2B5EF4-FFF2-40B4-BE49-F238E27FC236}">
                  <a16:creationId xmlns:a16="http://schemas.microsoft.com/office/drawing/2014/main" id="{F760C1C5-4342-C346-A7D2-D101978EDF66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114" name="矩形 13">
              <a:extLst>
                <a:ext uri="{FF2B5EF4-FFF2-40B4-BE49-F238E27FC236}">
                  <a16:creationId xmlns:a16="http://schemas.microsoft.com/office/drawing/2014/main" id="{5BB50A4A-0B64-7E4C-824C-1EBCA1A992CF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115" name="矩形 13">
              <a:extLst>
                <a:ext uri="{FF2B5EF4-FFF2-40B4-BE49-F238E27FC236}">
                  <a16:creationId xmlns:a16="http://schemas.microsoft.com/office/drawing/2014/main" id="{756A7E25-6C44-8A44-A8C5-61D19BC9EDAF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116" name="矩形 13">
              <a:extLst>
                <a:ext uri="{FF2B5EF4-FFF2-40B4-BE49-F238E27FC236}">
                  <a16:creationId xmlns:a16="http://schemas.microsoft.com/office/drawing/2014/main" id="{96588389-39CD-DF4E-B9AC-92091E25724E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117" name="矩形 13">
              <a:extLst>
                <a:ext uri="{FF2B5EF4-FFF2-40B4-BE49-F238E27FC236}">
                  <a16:creationId xmlns:a16="http://schemas.microsoft.com/office/drawing/2014/main" id="{20725C9F-31AE-DB44-B70A-B4ECDEC0BC00}"/>
                </a:ext>
              </a:extLst>
            </p:cNvPr>
            <p:cNvSpPr/>
            <p:nvPr/>
          </p:nvSpPr>
          <p:spPr>
            <a:xfrm>
              <a:off x="7811114" y="3415851"/>
              <a:ext cx="791510" cy="664398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8" name="矩形 13">
              <a:extLst>
                <a:ext uri="{FF2B5EF4-FFF2-40B4-BE49-F238E27FC236}">
                  <a16:creationId xmlns:a16="http://schemas.microsoft.com/office/drawing/2014/main" id="{AC5BCC27-B68D-0743-8E0B-E25F8D01C3A4}"/>
                </a:ext>
              </a:extLst>
            </p:cNvPr>
            <p:cNvSpPr/>
            <p:nvPr/>
          </p:nvSpPr>
          <p:spPr>
            <a:xfrm>
              <a:off x="7820945" y="4866463"/>
              <a:ext cx="791510" cy="664398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119" name="矩形 13">
              <a:extLst>
                <a:ext uri="{FF2B5EF4-FFF2-40B4-BE49-F238E27FC236}">
                  <a16:creationId xmlns:a16="http://schemas.microsoft.com/office/drawing/2014/main" id="{51C2E83A-C975-6945-B2FD-5B22BBB53DB7}"/>
                </a:ext>
              </a:extLst>
            </p:cNvPr>
            <p:cNvSpPr/>
            <p:nvPr/>
          </p:nvSpPr>
          <p:spPr>
            <a:xfrm>
              <a:off x="7818707" y="4134866"/>
              <a:ext cx="791510" cy="664398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120" name="矩形 13">
              <a:extLst>
                <a:ext uri="{FF2B5EF4-FFF2-40B4-BE49-F238E27FC236}">
                  <a16:creationId xmlns:a16="http://schemas.microsoft.com/office/drawing/2014/main" id="{BEE9A95F-6965-354F-A2C7-2E8C81DDA52F}"/>
                </a:ext>
              </a:extLst>
            </p:cNvPr>
            <p:cNvSpPr/>
            <p:nvPr/>
          </p:nvSpPr>
          <p:spPr>
            <a:xfrm>
              <a:off x="7823691" y="5596166"/>
              <a:ext cx="791510" cy="664398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190/233/238</a:t>
              </a:r>
            </a:p>
          </p:txBody>
        </p:sp>
        <p:sp>
          <p:nvSpPr>
            <p:cNvPr id="121" name="矩形 13">
              <a:extLst>
                <a:ext uri="{FF2B5EF4-FFF2-40B4-BE49-F238E27FC236}">
                  <a16:creationId xmlns:a16="http://schemas.microsoft.com/office/drawing/2014/main" id="{509164EB-3DC4-7A4F-9E7C-06EBC981CD0A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122" name="矩形 13">
              <a:extLst>
                <a:ext uri="{FF2B5EF4-FFF2-40B4-BE49-F238E27FC236}">
                  <a16:creationId xmlns:a16="http://schemas.microsoft.com/office/drawing/2014/main" id="{667867DD-D3E6-3040-A7B5-39345C0CE2E3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123" name="矩形 13">
              <a:extLst>
                <a:ext uri="{FF2B5EF4-FFF2-40B4-BE49-F238E27FC236}">
                  <a16:creationId xmlns:a16="http://schemas.microsoft.com/office/drawing/2014/main" id="{9EE10597-3782-AB46-8453-89FA049C6C46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0/0/0</a:t>
              </a:r>
            </a:p>
          </p:txBody>
        </p:sp>
        <p:sp>
          <p:nvSpPr>
            <p:cNvPr id="124" name="矩形 13">
              <a:extLst>
                <a:ext uri="{FF2B5EF4-FFF2-40B4-BE49-F238E27FC236}">
                  <a16:creationId xmlns:a16="http://schemas.microsoft.com/office/drawing/2014/main" id="{966B3529-B594-884C-BED0-5887B34BBBB8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125" name="矩形 13">
              <a:extLst>
                <a:ext uri="{FF2B5EF4-FFF2-40B4-BE49-F238E27FC236}">
                  <a16:creationId xmlns:a16="http://schemas.microsoft.com/office/drawing/2014/main" id="{0B0545C9-147F-584F-80D2-EF13876D7D33}"/>
                </a:ext>
              </a:extLst>
            </p:cNvPr>
            <p:cNvSpPr/>
            <p:nvPr userDrawn="1"/>
          </p:nvSpPr>
          <p:spPr>
            <a:xfrm>
              <a:off x="6445335" y="6324024"/>
              <a:ext cx="513579" cy="664398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126" name="矩形 13">
              <a:extLst>
                <a:ext uri="{FF2B5EF4-FFF2-40B4-BE49-F238E27FC236}">
                  <a16:creationId xmlns:a16="http://schemas.microsoft.com/office/drawing/2014/main" id="{44FD0A0B-0D45-3340-A523-465AC24134BF}"/>
                </a:ext>
              </a:extLst>
            </p:cNvPr>
            <p:cNvSpPr/>
            <p:nvPr userDrawn="1"/>
          </p:nvSpPr>
          <p:spPr>
            <a:xfrm>
              <a:off x="7003279" y="6324024"/>
              <a:ext cx="513579" cy="664398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127" name="矩形 13">
              <a:extLst>
                <a:ext uri="{FF2B5EF4-FFF2-40B4-BE49-F238E27FC236}">
                  <a16:creationId xmlns:a16="http://schemas.microsoft.com/office/drawing/2014/main" id="{2C404A07-276B-3648-BB25-4EDB5905448C}"/>
                </a:ext>
              </a:extLst>
            </p:cNvPr>
            <p:cNvSpPr/>
            <p:nvPr userDrawn="1"/>
          </p:nvSpPr>
          <p:spPr>
            <a:xfrm>
              <a:off x="7551547" y="6324024"/>
              <a:ext cx="513579" cy="664398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128" name="矩形 13">
              <a:extLst>
                <a:ext uri="{FF2B5EF4-FFF2-40B4-BE49-F238E27FC236}">
                  <a16:creationId xmlns:a16="http://schemas.microsoft.com/office/drawing/2014/main" id="{72B0F29C-A346-8946-9B8E-8F1B9DFF7AD0}"/>
                </a:ext>
              </a:extLst>
            </p:cNvPr>
            <p:cNvSpPr/>
            <p:nvPr userDrawn="1"/>
          </p:nvSpPr>
          <p:spPr>
            <a:xfrm>
              <a:off x="8098559" y="6324024"/>
              <a:ext cx="513579" cy="66439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</a:t>
              </a:r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07854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7323" rtl="0" eaLnBrk="1" latinLnBrk="0" hangingPunct="1">
        <a:lnSpc>
          <a:spcPct val="90000"/>
        </a:lnSpc>
        <a:spcBef>
          <a:spcPct val="0"/>
        </a:spcBef>
        <a:buNone/>
        <a:defRPr sz="571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31" indent="-296831" algn="l" defTabSz="1187323" rtl="0" eaLnBrk="1" latinLnBrk="0" hangingPunct="1">
        <a:lnSpc>
          <a:spcPct val="90000"/>
        </a:lnSpc>
        <a:spcBef>
          <a:spcPts val="1298"/>
        </a:spcBef>
        <a:buFont typeface="Arial" panose="020B0604020202020204" pitchFamily="34" charset="0"/>
        <a:buChar char="•"/>
        <a:defRPr sz="3635" kern="1200">
          <a:solidFill>
            <a:schemeClr val="tx1"/>
          </a:solidFill>
          <a:latin typeface="+mn-lt"/>
          <a:ea typeface="+mn-ea"/>
          <a:cs typeface="+mn-cs"/>
        </a:defRPr>
      </a:lvl1pPr>
      <a:lvl2pPr marL="890493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7" kern="1200">
          <a:solidFill>
            <a:schemeClr val="tx1"/>
          </a:solidFill>
          <a:latin typeface="+mn-lt"/>
          <a:ea typeface="+mn-ea"/>
          <a:cs typeface="+mn-cs"/>
        </a:defRPr>
      </a:lvl2pPr>
      <a:lvl3pPr marL="1484154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7" kern="1200">
          <a:solidFill>
            <a:schemeClr val="tx1"/>
          </a:solidFill>
          <a:latin typeface="+mn-lt"/>
          <a:ea typeface="+mn-ea"/>
          <a:cs typeface="+mn-cs"/>
        </a:defRPr>
      </a:lvl3pPr>
      <a:lvl4pPr marL="2077817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4pPr>
      <a:lvl5pPr marL="2671478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5pPr>
      <a:lvl6pPr marL="3265140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6pPr>
      <a:lvl7pPr marL="3858802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7pPr>
      <a:lvl8pPr marL="4452463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8pPr>
      <a:lvl9pPr marL="5046125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1pPr>
      <a:lvl2pPr marL="593662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2pPr>
      <a:lvl3pPr marL="1187323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3pPr>
      <a:lvl4pPr marL="1780986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4pPr>
      <a:lvl5pPr marL="2374648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5pPr>
      <a:lvl6pPr marL="2968309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6pPr>
      <a:lvl7pPr marL="3561971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7pPr>
      <a:lvl8pPr marL="4155634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8pPr>
      <a:lvl9pPr marL="4749295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35039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Proprietary - Restricted Distribution</a:t>
            </a:r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7333705-F8D6-2847-B3CB-F2FAB51E2A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0" y="2625389"/>
            <a:ext cx="1967973" cy="4233515"/>
            <a:chOff x="5343885" y="-48857"/>
            <a:chExt cx="3271316" cy="7037279"/>
          </a:xfrm>
        </p:grpSpPr>
        <p:sp>
          <p:nvSpPr>
            <p:cNvPr id="89" name="矩形 13">
              <a:extLst>
                <a:ext uri="{FF2B5EF4-FFF2-40B4-BE49-F238E27FC236}">
                  <a16:creationId xmlns:a16="http://schemas.microsoft.com/office/drawing/2014/main" id="{B14DFA89-D483-CF47-82CC-DD86D7CAB09E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90" name="文本框 15">
              <a:extLst>
                <a:ext uri="{FF2B5EF4-FFF2-40B4-BE49-F238E27FC236}">
                  <a16:creationId xmlns:a16="http://schemas.microsoft.com/office/drawing/2014/main" id="{8223ADA0-340A-794B-93B7-24AFF612A719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91" name="矩形 13">
              <a:extLst>
                <a:ext uri="{FF2B5EF4-FFF2-40B4-BE49-F238E27FC236}">
                  <a16:creationId xmlns:a16="http://schemas.microsoft.com/office/drawing/2014/main" id="{5F63E0E3-4F22-7948-AB1A-40A84ECA92EC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2" name="矩形 13">
              <a:extLst>
                <a:ext uri="{FF2B5EF4-FFF2-40B4-BE49-F238E27FC236}">
                  <a16:creationId xmlns:a16="http://schemas.microsoft.com/office/drawing/2014/main" id="{29C4A3C6-7C7B-7140-8F73-591E9F49143F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93" name="矩形 13">
              <a:extLst>
                <a:ext uri="{FF2B5EF4-FFF2-40B4-BE49-F238E27FC236}">
                  <a16:creationId xmlns:a16="http://schemas.microsoft.com/office/drawing/2014/main" id="{BE4C9A8D-46B0-5B40-BC47-DB6C4899227F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94" name="矩形 13">
              <a:extLst>
                <a:ext uri="{FF2B5EF4-FFF2-40B4-BE49-F238E27FC236}">
                  <a16:creationId xmlns:a16="http://schemas.microsoft.com/office/drawing/2014/main" id="{612F2ED4-F7A4-9E48-95E1-8D07B3BBE962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95" name="矩形 13">
              <a:extLst>
                <a:ext uri="{FF2B5EF4-FFF2-40B4-BE49-F238E27FC236}">
                  <a16:creationId xmlns:a16="http://schemas.microsoft.com/office/drawing/2014/main" id="{A9E1D476-C288-8945-A68A-1F20C557294B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6" name="矩形 13">
              <a:extLst>
                <a:ext uri="{FF2B5EF4-FFF2-40B4-BE49-F238E27FC236}">
                  <a16:creationId xmlns:a16="http://schemas.microsoft.com/office/drawing/2014/main" id="{42823EBB-E62E-F149-AC9A-09950051F283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5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97" name="文本框 15">
              <a:extLst>
                <a:ext uri="{FF2B5EF4-FFF2-40B4-BE49-F238E27FC236}">
                  <a16:creationId xmlns:a16="http://schemas.microsoft.com/office/drawing/2014/main" id="{EA01C299-6FF2-3642-AAEC-A1DF62D9C654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98" name="矩形 13">
              <a:extLst>
                <a:ext uri="{FF2B5EF4-FFF2-40B4-BE49-F238E27FC236}">
                  <a16:creationId xmlns:a16="http://schemas.microsoft.com/office/drawing/2014/main" id="{B84AB502-165F-764A-9621-65CA8CBBEAEA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6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99" name="矩形 13">
              <a:extLst>
                <a:ext uri="{FF2B5EF4-FFF2-40B4-BE49-F238E27FC236}">
                  <a16:creationId xmlns:a16="http://schemas.microsoft.com/office/drawing/2014/main" id="{CB8870E8-3E95-764C-B621-A168E194CC7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00" name="矩形 13">
              <a:extLst>
                <a:ext uri="{FF2B5EF4-FFF2-40B4-BE49-F238E27FC236}">
                  <a16:creationId xmlns:a16="http://schemas.microsoft.com/office/drawing/2014/main" id="{356EF69A-1936-544F-A95F-0664F4E186D5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01" name="矩形 13">
              <a:extLst>
                <a:ext uri="{FF2B5EF4-FFF2-40B4-BE49-F238E27FC236}">
                  <a16:creationId xmlns:a16="http://schemas.microsoft.com/office/drawing/2014/main" id="{03EBAB43-95A5-1C4A-8458-B86EB3D51FCA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02" name="矩形 13">
              <a:extLst>
                <a:ext uri="{FF2B5EF4-FFF2-40B4-BE49-F238E27FC236}">
                  <a16:creationId xmlns:a16="http://schemas.microsoft.com/office/drawing/2014/main" id="{371A8520-F934-304C-B57F-B49F768694E2}"/>
                </a:ext>
              </a:extLst>
            </p:cNvPr>
            <p:cNvSpPr/>
            <p:nvPr userDrawn="1"/>
          </p:nvSpPr>
          <p:spPr>
            <a:xfrm>
              <a:off x="6184543" y="4866463"/>
              <a:ext cx="791510" cy="664398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103" name="矩形 13">
              <a:extLst>
                <a:ext uri="{FF2B5EF4-FFF2-40B4-BE49-F238E27FC236}">
                  <a16:creationId xmlns:a16="http://schemas.microsoft.com/office/drawing/2014/main" id="{B83004D7-279B-C14E-9FCF-870FA1B74FDF}"/>
                </a:ext>
              </a:extLst>
            </p:cNvPr>
            <p:cNvSpPr/>
            <p:nvPr userDrawn="1"/>
          </p:nvSpPr>
          <p:spPr>
            <a:xfrm>
              <a:off x="6182308" y="4134866"/>
              <a:ext cx="791510" cy="664398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104" name="矩形 13">
              <a:extLst>
                <a:ext uri="{FF2B5EF4-FFF2-40B4-BE49-F238E27FC236}">
                  <a16:creationId xmlns:a16="http://schemas.microsoft.com/office/drawing/2014/main" id="{99635968-4E69-CC41-9D78-6DF253FE3035}"/>
                </a:ext>
              </a:extLst>
            </p:cNvPr>
            <p:cNvSpPr/>
            <p:nvPr userDrawn="1"/>
          </p:nvSpPr>
          <p:spPr>
            <a:xfrm>
              <a:off x="6177324" y="5596166"/>
              <a:ext cx="791510" cy="664398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105" name="矩形 13">
              <a:extLst>
                <a:ext uri="{FF2B5EF4-FFF2-40B4-BE49-F238E27FC236}">
                  <a16:creationId xmlns:a16="http://schemas.microsoft.com/office/drawing/2014/main" id="{BDBE4949-07B7-F046-AD95-68E4B0C11CCD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106" name="矩形 13">
              <a:extLst>
                <a:ext uri="{FF2B5EF4-FFF2-40B4-BE49-F238E27FC236}">
                  <a16:creationId xmlns:a16="http://schemas.microsoft.com/office/drawing/2014/main" id="{AA9F9E00-6A31-F14B-A2E4-79908835FD1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107" name="矩形 13">
              <a:extLst>
                <a:ext uri="{FF2B5EF4-FFF2-40B4-BE49-F238E27FC236}">
                  <a16:creationId xmlns:a16="http://schemas.microsoft.com/office/drawing/2014/main" id="{38715A31-485E-B744-B409-43F9F04B48F7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108" name="矩形 13">
              <a:extLst>
                <a:ext uri="{FF2B5EF4-FFF2-40B4-BE49-F238E27FC236}">
                  <a16:creationId xmlns:a16="http://schemas.microsoft.com/office/drawing/2014/main" id="{4AE1609B-25DD-2C4A-B05B-D18ADBC39C71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109" name="矩形 13">
              <a:extLst>
                <a:ext uri="{FF2B5EF4-FFF2-40B4-BE49-F238E27FC236}">
                  <a16:creationId xmlns:a16="http://schemas.microsoft.com/office/drawing/2014/main" id="{ECE90F9F-DBBC-0B49-A42C-8B62397E473E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0" name="矩形 13">
              <a:extLst>
                <a:ext uri="{FF2B5EF4-FFF2-40B4-BE49-F238E27FC236}">
                  <a16:creationId xmlns:a16="http://schemas.microsoft.com/office/drawing/2014/main" id="{D5B387BA-F8B8-B54E-966E-F24E271747C4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111" name="矩形 13">
              <a:extLst>
                <a:ext uri="{FF2B5EF4-FFF2-40B4-BE49-F238E27FC236}">
                  <a16:creationId xmlns:a16="http://schemas.microsoft.com/office/drawing/2014/main" id="{E6C9B99E-8C1C-2B49-B82E-3C754B8E5C02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112" name="矩形 13">
              <a:extLst>
                <a:ext uri="{FF2B5EF4-FFF2-40B4-BE49-F238E27FC236}">
                  <a16:creationId xmlns:a16="http://schemas.microsoft.com/office/drawing/2014/main" id="{0106BFA2-9DE1-3A42-A6C6-69BCE0FA34F4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113" name="矩形 13">
              <a:extLst>
                <a:ext uri="{FF2B5EF4-FFF2-40B4-BE49-F238E27FC236}">
                  <a16:creationId xmlns:a16="http://schemas.microsoft.com/office/drawing/2014/main" id="{F760C1C5-4342-C346-A7D2-D101978EDF66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114" name="矩形 13">
              <a:extLst>
                <a:ext uri="{FF2B5EF4-FFF2-40B4-BE49-F238E27FC236}">
                  <a16:creationId xmlns:a16="http://schemas.microsoft.com/office/drawing/2014/main" id="{5BB50A4A-0B64-7E4C-824C-1EBCA1A992CF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115" name="矩形 13">
              <a:extLst>
                <a:ext uri="{FF2B5EF4-FFF2-40B4-BE49-F238E27FC236}">
                  <a16:creationId xmlns:a16="http://schemas.microsoft.com/office/drawing/2014/main" id="{756A7E25-6C44-8A44-A8C5-61D19BC9EDAF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116" name="矩形 13">
              <a:extLst>
                <a:ext uri="{FF2B5EF4-FFF2-40B4-BE49-F238E27FC236}">
                  <a16:creationId xmlns:a16="http://schemas.microsoft.com/office/drawing/2014/main" id="{96588389-39CD-DF4E-B9AC-92091E25724E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117" name="矩形 13">
              <a:extLst>
                <a:ext uri="{FF2B5EF4-FFF2-40B4-BE49-F238E27FC236}">
                  <a16:creationId xmlns:a16="http://schemas.microsoft.com/office/drawing/2014/main" id="{20725C9F-31AE-DB44-B70A-B4ECDEC0BC00}"/>
                </a:ext>
              </a:extLst>
            </p:cNvPr>
            <p:cNvSpPr/>
            <p:nvPr/>
          </p:nvSpPr>
          <p:spPr>
            <a:xfrm>
              <a:off x="7811114" y="3415851"/>
              <a:ext cx="791510" cy="664398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8" name="矩形 13">
              <a:extLst>
                <a:ext uri="{FF2B5EF4-FFF2-40B4-BE49-F238E27FC236}">
                  <a16:creationId xmlns:a16="http://schemas.microsoft.com/office/drawing/2014/main" id="{AC5BCC27-B68D-0743-8E0B-E25F8D01C3A4}"/>
                </a:ext>
              </a:extLst>
            </p:cNvPr>
            <p:cNvSpPr/>
            <p:nvPr/>
          </p:nvSpPr>
          <p:spPr>
            <a:xfrm>
              <a:off x="7820945" y="4866463"/>
              <a:ext cx="791510" cy="664398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119" name="矩形 13">
              <a:extLst>
                <a:ext uri="{FF2B5EF4-FFF2-40B4-BE49-F238E27FC236}">
                  <a16:creationId xmlns:a16="http://schemas.microsoft.com/office/drawing/2014/main" id="{51C2E83A-C975-6945-B2FD-5B22BBB53DB7}"/>
                </a:ext>
              </a:extLst>
            </p:cNvPr>
            <p:cNvSpPr/>
            <p:nvPr/>
          </p:nvSpPr>
          <p:spPr>
            <a:xfrm>
              <a:off x="7818707" y="4134866"/>
              <a:ext cx="791510" cy="664398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120" name="矩形 13">
              <a:extLst>
                <a:ext uri="{FF2B5EF4-FFF2-40B4-BE49-F238E27FC236}">
                  <a16:creationId xmlns:a16="http://schemas.microsoft.com/office/drawing/2014/main" id="{BEE9A95F-6965-354F-A2C7-2E8C81DDA52F}"/>
                </a:ext>
              </a:extLst>
            </p:cNvPr>
            <p:cNvSpPr/>
            <p:nvPr/>
          </p:nvSpPr>
          <p:spPr>
            <a:xfrm>
              <a:off x="7823691" y="5596166"/>
              <a:ext cx="791510" cy="664398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190/233/238</a:t>
              </a:r>
            </a:p>
          </p:txBody>
        </p:sp>
        <p:sp>
          <p:nvSpPr>
            <p:cNvPr id="121" name="矩形 13">
              <a:extLst>
                <a:ext uri="{FF2B5EF4-FFF2-40B4-BE49-F238E27FC236}">
                  <a16:creationId xmlns:a16="http://schemas.microsoft.com/office/drawing/2014/main" id="{509164EB-3DC4-7A4F-9E7C-06EBC981CD0A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122" name="矩形 13">
              <a:extLst>
                <a:ext uri="{FF2B5EF4-FFF2-40B4-BE49-F238E27FC236}">
                  <a16:creationId xmlns:a16="http://schemas.microsoft.com/office/drawing/2014/main" id="{667867DD-D3E6-3040-A7B5-39345C0CE2E3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123" name="矩形 13">
              <a:extLst>
                <a:ext uri="{FF2B5EF4-FFF2-40B4-BE49-F238E27FC236}">
                  <a16:creationId xmlns:a16="http://schemas.microsoft.com/office/drawing/2014/main" id="{9EE10597-3782-AB46-8453-89FA049C6C46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0/0/0</a:t>
              </a:r>
            </a:p>
          </p:txBody>
        </p:sp>
        <p:sp>
          <p:nvSpPr>
            <p:cNvPr id="124" name="矩形 13">
              <a:extLst>
                <a:ext uri="{FF2B5EF4-FFF2-40B4-BE49-F238E27FC236}">
                  <a16:creationId xmlns:a16="http://schemas.microsoft.com/office/drawing/2014/main" id="{966B3529-B594-884C-BED0-5887B34BBBB8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125" name="矩形 13">
              <a:extLst>
                <a:ext uri="{FF2B5EF4-FFF2-40B4-BE49-F238E27FC236}">
                  <a16:creationId xmlns:a16="http://schemas.microsoft.com/office/drawing/2014/main" id="{0B0545C9-147F-584F-80D2-EF13876D7D33}"/>
                </a:ext>
              </a:extLst>
            </p:cNvPr>
            <p:cNvSpPr/>
            <p:nvPr userDrawn="1"/>
          </p:nvSpPr>
          <p:spPr>
            <a:xfrm>
              <a:off x="6445335" y="6324024"/>
              <a:ext cx="513579" cy="664398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126" name="矩形 13">
              <a:extLst>
                <a:ext uri="{FF2B5EF4-FFF2-40B4-BE49-F238E27FC236}">
                  <a16:creationId xmlns:a16="http://schemas.microsoft.com/office/drawing/2014/main" id="{44FD0A0B-0D45-3340-A523-465AC24134BF}"/>
                </a:ext>
              </a:extLst>
            </p:cNvPr>
            <p:cNvSpPr/>
            <p:nvPr userDrawn="1"/>
          </p:nvSpPr>
          <p:spPr>
            <a:xfrm>
              <a:off x="7003279" y="6324024"/>
              <a:ext cx="513579" cy="664398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127" name="矩形 13">
              <a:extLst>
                <a:ext uri="{FF2B5EF4-FFF2-40B4-BE49-F238E27FC236}">
                  <a16:creationId xmlns:a16="http://schemas.microsoft.com/office/drawing/2014/main" id="{2C404A07-276B-3648-BB25-4EDB5905448C}"/>
                </a:ext>
              </a:extLst>
            </p:cNvPr>
            <p:cNvSpPr/>
            <p:nvPr userDrawn="1"/>
          </p:nvSpPr>
          <p:spPr>
            <a:xfrm>
              <a:off x="7551547" y="6324024"/>
              <a:ext cx="513579" cy="664398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128" name="矩形 13">
              <a:extLst>
                <a:ext uri="{FF2B5EF4-FFF2-40B4-BE49-F238E27FC236}">
                  <a16:creationId xmlns:a16="http://schemas.microsoft.com/office/drawing/2014/main" id="{72B0F29C-A346-8946-9B8E-8F1B9DFF7AD0}"/>
                </a:ext>
              </a:extLst>
            </p:cNvPr>
            <p:cNvSpPr/>
            <p:nvPr userDrawn="1"/>
          </p:nvSpPr>
          <p:spPr>
            <a:xfrm>
              <a:off x="8098559" y="6324024"/>
              <a:ext cx="513579" cy="66439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</a:t>
              </a:r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844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56" r:id="rId1"/>
    <p:sldLayoutId id="2147485357" r:id="rId2"/>
    <p:sldLayoutId id="2147485358" r:id="rId3"/>
    <p:sldLayoutId id="2147485360" r:id="rId4"/>
    <p:sldLayoutId id="2147485362" r:id="rId5"/>
    <p:sldLayoutId id="2147485363" r:id="rId6"/>
    <p:sldLayoutId id="2147485365" r:id="rId7"/>
    <p:sldLayoutId id="2147485366" r:id="rId8"/>
    <p:sldLayoutId id="2147485367" r:id="rId9"/>
    <p:sldLayoutId id="2147485368" r:id="rId10"/>
    <p:sldLayoutId id="2147485369" r:id="rId11"/>
  </p:sldLayoutIdLst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" name="Group 87">
            <a:extLst>
              <a:ext uri="{FF2B5EF4-FFF2-40B4-BE49-F238E27FC236}">
                <a16:creationId xmlns:a16="http://schemas.microsoft.com/office/drawing/2014/main" id="{37333705-F8D6-2847-B3CB-F2FAB51E2A3B}"/>
              </a:ext>
            </a:extLst>
          </p:cNvPr>
          <p:cNvGrpSpPr>
            <a:grpSpLocks noChangeAspect="1"/>
          </p:cNvGrpSpPr>
          <p:nvPr/>
        </p:nvGrpSpPr>
        <p:grpSpPr>
          <a:xfrm>
            <a:off x="12290471" y="2625391"/>
            <a:ext cx="1963323" cy="4233515"/>
            <a:chOff x="5343885" y="-48857"/>
            <a:chExt cx="3263586" cy="7037279"/>
          </a:xfrm>
        </p:grpSpPr>
        <p:sp>
          <p:nvSpPr>
            <p:cNvPr id="89" name="矩形 13">
              <a:extLst>
                <a:ext uri="{FF2B5EF4-FFF2-40B4-BE49-F238E27FC236}">
                  <a16:creationId xmlns:a16="http://schemas.microsoft.com/office/drawing/2014/main" id="{B14DFA89-D483-CF47-82CC-DD86D7CAB09E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90" name="文本框 15">
              <a:extLst>
                <a:ext uri="{FF2B5EF4-FFF2-40B4-BE49-F238E27FC236}">
                  <a16:creationId xmlns:a16="http://schemas.microsoft.com/office/drawing/2014/main" id="{8223ADA0-340A-794B-93B7-24AFF612A719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112"/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91" name="矩形 13">
              <a:extLst>
                <a:ext uri="{FF2B5EF4-FFF2-40B4-BE49-F238E27FC236}">
                  <a16:creationId xmlns:a16="http://schemas.microsoft.com/office/drawing/2014/main" id="{5F63E0E3-4F22-7948-AB1A-40A84ECA92EC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2" name="矩形 13">
              <a:extLst>
                <a:ext uri="{FF2B5EF4-FFF2-40B4-BE49-F238E27FC236}">
                  <a16:creationId xmlns:a16="http://schemas.microsoft.com/office/drawing/2014/main" id="{29C4A3C6-7C7B-7140-8F73-591E9F49143F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93" name="矩形 13">
              <a:extLst>
                <a:ext uri="{FF2B5EF4-FFF2-40B4-BE49-F238E27FC236}">
                  <a16:creationId xmlns:a16="http://schemas.microsoft.com/office/drawing/2014/main" id="{BE4C9A8D-46B0-5B40-BC47-DB6C4899227F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94" name="矩形 13">
              <a:extLst>
                <a:ext uri="{FF2B5EF4-FFF2-40B4-BE49-F238E27FC236}">
                  <a16:creationId xmlns:a16="http://schemas.microsoft.com/office/drawing/2014/main" id="{612F2ED4-F7A4-9E48-95E1-8D07B3BBE962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95" name="矩形 13">
              <a:extLst>
                <a:ext uri="{FF2B5EF4-FFF2-40B4-BE49-F238E27FC236}">
                  <a16:creationId xmlns:a16="http://schemas.microsoft.com/office/drawing/2014/main" id="{A9E1D476-C288-8945-A68A-1F20C557294B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6" name="矩形 13">
              <a:extLst>
                <a:ext uri="{FF2B5EF4-FFF2-40B4-BE49-F238E27FC236}">
                  <a16:creationId xmlns:a16="http://schemas.microsoft.com/office/drawing/2014/main" id="{42823EBB-E62E-F149-AC9A-09950051F283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5C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97" name="文本框 15">
              <a:extLst>
                <a:ext uri="{FF2B5EF4-FFF2-40B4-BE49-F238E27FC236}">
                  <a16:creationId xmlns:a16="http://schemas.microsoft.com/office/drawing/2014/main" id="{EA01C299-6FF2-3642-AAEC-A1DF62D9C654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112"/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98" name="矩形 13">
              <a:extLst>
                <a:ext uri="{FF2B5EF4-FFF2-40B4-BE49-F238E27FC236}">
                  <a16:creationId xmlns:a16="http://schemas.microsoft.com/office/drawing/2014/main" id="{B84AB502-165F-764A-9621-65CA8CBBEAEA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6C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99" name="矩形 13">
              <a:extLst>
                <a:ext uri="{FF2B5EF4-FFF2-40B4-BE49-F238E27FC236}">
                  <a16:creationId xmlns:a16="http://schemas.microsoft.com/office/drawing/2014/main" id="{CB8870E8-3E95-764C-B621-A168E194CC7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00" name="矩形 13">
              <a:extLst>
                <a:ext uri="{FF2B5EF4-FFF2-40B4-BE49-F238E27FC236}">
                  <a16:creationId xmlns:a16="http://schemas.microsoft.com/office/drawing/2014/main" id="{356EF69A-1936-544F-A95F-0664F4E186D5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01" name="矩形 13">
              <a:extLst>
                <a:ext uri="{FF2B5EF4-FFF2-40B4-BE49-F238E27FC236}">
                  <a16:creationId xmlns:a16="http://schemas.microsoft.com/office/drawing/2014/main" id="{03EBAB43-95A5-1C4A-8458-B86EB3D51FCA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02" name="矩形 13">
              <a:extLst>
                <a:ext uri="{FF2B5EF4-FFF2-40B4-BE49-F238E27FC236}">
                  <a16:creationId xmlns:a16="http://schemas.microsoft.com/office/drawing/2014/main" id="{371A8520-F934-304C-B57F-B49F768694E2}"/>
                </a:ext>
              </a:extLst>
            </p:cNvPr>
            <p:cNvSpPr/>
            <p:nvPr userDrawn="1"/>
          </p:nvSpPr>
          <p:spPr>
            <a:xfrm>
              <a:off x="6194511" y="4866463"/>
              <a:ext cx="791510" cy="664397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103" name="矩形 13">
              <a:extLst>
                <a:ext uri="{FF2B5EF4-FFF2-40B4-BE49-F238E27FC236}">
                  <a16:creationId xmlns:a16="http://schemas.microsoft.com/office/drawing/2014/main" id="{B83004D7-279B-C14E-9FCF-870FA1B74FDF}"/>
                </a:ext>
              </a:extLst>
            </p:cNvPr>
            <p:cNvSpPr/>
            <p:nvPr userDrawn="1"/>
          </p:nvSpPr>
          <p:spPr>
            <a:xfrm>
              <a:off x="6192274" y="4134866"/>
              <a:ext cx="791510" cy="664397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104" name="矩形 13">
              <a:extLst>
                <a:ext uri="{FF2B5EF4-FFF2-40B4-BE49-F238E27FC236}">
                  <a16:creationId xmlns:a16="http://schemas.microsoft.com/office/drawing/2014/main" id="{99635968-4E69-CC41-9D78-6DF253FE3035}"/>
                </a:ext>
              </a:extLst>
            </p:cNvPr>
            <p:cNvSpPr/>
            <p:nvPr userDrawn="1"/>
          </p:nvSpPr>
          <p:spPr>
            <a:xfrm>
              <a:off x="6192274" y="5596166"/>
              <a:ext cx="791510" cy="664397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105" name="矩形 13">
              <a:extLst>
                <a:ext uri="{FF2B5EF4-FFF2-40B4-BE49-F238E27FC236}">
                  <a16:creationId xmlns:a16="http://schemas.microsoft.com/office/drawing/2014/main" id="{BDBE4949-07B7-F046-AD95-68E4B0C11CCD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106" name="矩形 13">
              <a:extLst>
                <a:ext uri="{FF2B5EF4-FFF2-40B4-BE49-F238E27FC236}">
                  <a16:creationId xmlns:a16="http://schemas.microsoft.com/office/drawing/2014/main" id="{AA9F9E00-6A31-F14B-A2E4-79908835FD1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107" name="矩形 13">
              <a:extLst>
                <a:ext uri="{FF2B5EF4-FFF2-40B4-BE49-F238E27FC236}">
                  <a16:creationId xmlns:a16="http://schemas.microsoft.com/office/drawing/2014/main" id="{38715A31-485E-B744-B409-43F9F04B48F7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108" name="矩形 13">
              <a:extLst>
                <a:ext uri="{FF2B5EF4-FFF2-40B4-BE49-F238E27FC236}">
                  <a16:creationId xmlns:a16="http://schemas.microsoft.com/office/drawing/2014/main" id="{4AE1609B-25DD-2C4A-B05B-D18ADBC39C71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109" name="矩形 13">
              <a:extLst>
                <a:ext uri="{FF2B5EF4-FFF2-40B4-BE49-F238E27FC236}">
                  <a16:creationId xmlns:a16="http://schemas.microsoft.com/office/drawing/2014/main" id="{ECE90F9F-DBBC-0B49-A42C-8B62397E473E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0" name="矩形 13">
              <a:extLst>
                <a:ext uri="{FF2B5EF4-FFF2-40B4-BE49-F238E27FC236}">
                  <a16:creationId xmlns:a16="http://schemas.microsoft.com/office/drawing/2014/main" id="{D5B387BA-F8B8-B54E-966E-F24E271747C4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111" name="矩形 13">
              <a:extLst>
                <a:ext uri="{FF2B5EF4-FFF2-40B4-BE49-F238E27FC236}">
                  <a16:creationId xmlns:a16="http://schemas.microsoft.com/office/drawing/2014/main" id="{E6C9B99E-8C1C-2B49-B82E-3C754B8E5C02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112" name="矩形 13">
              <a:extLst>
                <a:ext uri="{FF2B5EF4-FFF2-40B4-BE49-F238E27FC236}">
                  <a16:creationId xmlns:a16="http://schemas.microsoft.com/office/drawing/2014/main" id="{0106BFA2-9DE1-3A42-A6C6-69BCE0FA34F4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113" name="矩形 13">
              <a:extLst>
                <a:ext uri="{FF2B5EF4-FFF2-40B4-BE49-F238E27FC236}">
                  <a16:creationId xmlns:a16="http://schemas.microsoft.com/office/drawing/2014/main" id="{F760C1C5-4342-C346-A7D2-D101978EDF66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114" name="矩形 13">
              <a:extLst>
                <a:ext uri="{FF2B5EF4-FFF2-40B4-BE49-F238E27FC236}">
                  <a16:creationId xmlns:a16="http://schemas.microsoft.com/office/drawing/2014/main" id="{5BB50A4A-0B64-7E4C-824C-1EBCA1A992CF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115" name="矩形 13">
              <a:extLst>
                <a:ext uri="{FF2B5EF4-FFF2-40B4-BE49-F238E27FC236}">
                  <a16:creationId xmlns:a16="http://schemas.microsoft.com/office/drawing/2014/main" id="{756A7E25-6C44-8A44-A8C5-61D19BC9EDAF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116" name="矩形 13">
              <a:extLst>
                <a:ext uri="{FF2B5EF4-FFF2-40B4-BE49-F238E27FC236}">
                  <a16:creationId xmlns:a16="http://schemas.microsoft.com/office/drawing/2014/main" id="{96588389-39CD-DF4E-B9AC-92091E25724E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117" name="矩形 13">
              <a:extLst>
                <a:ext uri="{FF2B5EF4-FFF2-40B4-BE49-F238E27FC236}">
                  <a16:creationId xmlns:a16="http://schemas.microsoft.com/office/drawing/2014/main" id="{20725C9F-31AE-DB44-B70A-B4ECDEC0BC00}"/>
                </a:ext>
              </a:extLst>
            </p:cNvPr>
            <p:cNvSpPr/>
            <p:nvPr/>
          </p:nvSpPr>
          <p:spPr>
            <a:xfrm>
              <a:off x="7806130" y="3415851"/>
              <a:ext cx="791510" cy="664397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8" name="矩形 13">
              <a:extLst>
                <a:ext uri="{FF2B5EF4-FFF2-40B4-BE49-F238E27FC236}">
                  <a16:creationId xmlns:a16="http://schemas.microsoft.com/office/drawing/2014/main" id="{AC5BCC27-B68D-0743-8E0B-E25F8D01C3A4}"/>
                </a:ext>
              </a:extLst>
            </p:cNvPr>
            <p:cNvSpPr/>
            <p:nvPr/>
          </p:nvSpPr>
          <p:spPr>
            <a:xfrm>
              <a:off x="7815961" y="4866463"/>
              <a:ext cx="791510" cy="664397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119" name="矩形 13">
              <a:extLst>
                <a:ext uri="{FF2B5EF4-FFF2-40B4-BE49-F238E27FC236}">
                  <a16:creationId xmlns:a16="http://schemas.microsoft.com/office/drawing/2014/main" id="{51C2E83A-C975-6945-B2FD-5B22BBB53DB7}"/>
                </a:ext>
              </a:extLst>
            </p:cNvPr>
            <p:cNvSpPr/>
            <p:nvPr/>
          </p:nvSpPr>
          <p:spPr>
            <a:xfrm>
              <a:off x="7813724" y="4134866"/>
              <a:ext cx="791510" cy="664397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120" name="矩形 13">
              <a:extLst>
                <a:ext uri="{FF2B5EF4-FFF2-40B4-BE49-F238E27FC236}">
                  <a16:creationId xmlns:a16="http://schemas.microsoft.com/office/drawing/2014/main" id="{BEE9A95F-6965-354F-A2C7-2E8C81DDA52F}"/>
                </a:ext>
              </a:extLst>
            </p:cNvPr>
            <p:cNvSpPr/>
            <p:nvPr/>
          </p:nvSpPr>
          <p:spPr>
            <a:xfrm>
              <a:off x="7813724" y="5596166"/>
              <a:ext cx="791510" cy="664397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190/23/238</a:t>
              </a:r>
            </a:p>
          </p:txBody>
        </p:sp>
        <p:sp>
          <p:nvSpPr>
            <p:cNvPr id="121" name="矩形 13">
              <a:extLst>
                <a:ext uri="{FF2B5EF4-FFF2-40B4-BE49-F238E27FC236}">
                  <a16:creationId xmlns:a16="http://schemas.microsoft.com/office/drawing/2014/main" id="{509164EB-3DC4-7A4F-9E7C-06EBC981CD0A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122" name="矩形 13">
              <a:extLst>
                <a:ext uri="{FF2B5EF4-FFF2-40B4-BE49-F238E27FC236}">
                  <a16:creationId xmlns:a16="http://schemas.microsoft.com/office/drawing/2014/main" id="{667867DD-D3E6-3040-A7B5-39345C0CE2E3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123" name="矩形 13">
              <a:extLst>
                <a:ext uri="{FF2B5EF4-FFF2-40B4-BE49-F238E27FC236}">
                  <a16:creationId xmlns:a16="http://schemas.microsoft.com/office/drawing/2014/main" id="{9EE10597-3782-AB46-8453-89FA049C6C46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35/24/21</a:t>
              </a:r>
            </a:p>
          </p:txBody>
        </p:sp>
        <p:sp>
          <p:nvSpPr>
            <p:cNvPr id="124" name="矩形 13">
              <a:extLst>
                <a:ext uri="{FF2B5EF4-FFF2-40B4-BE49-F238E27FC236}">
                  <a16:creationId xmlns:a16="http://schemas.microsoft.com/office/drawing/2014/main" id="{966B3529-B594-884C-BED0-5887B34BBBB8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125" name="矩形 13">
              <a:extLst>
                <a:ext uri="{FF2B5EF4-FFF2-40B4-BE49-F238E27FC236}">
                  <a16:creationId xmlns:a16="http://schemas.microsoft.com/office/drawing/2014/main" id="{0B0545C9-147F-584F-80D2-EF13876D7D33}"/>
                </a:ext>
              </a:extLst>
            </p:cNvPr>
            <p:cNvSpPr/>
            <p:nvPr userDrawn="1"/>
          </p:nvSpPr>
          <p:spPr>
            <a:xfrm>
              <a:off x="6450318" y="6324025"/>
              <a:ext cx="513579" cy="664397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126" name="矩形 13">
              <a:extLst>
                <a:ext uri="{FF2B5EF4-FFF2-40B4-BE49-F238E27FC236}">
                  <a16:creationId xmlns:a16="http://schemas.microsoft.com/office/drawing/2014/main" id="{44FD0A0B-0D45-3340-A523-465AC24134BF}"/>
                </a:ext>
              </a:extLst>
            </p:cNvPr>
            <p:cNvSpPr/>
            <p:nvPr userDrawn="1"/>
          </p:nvSpPr>
          <p:spPr>
            <a:xfrm>
              <a:off x="6998296" y="6324025"/>
              <a:ext cx="513579" cy="664397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127" name="矩形 13">
              <a:extLst>
                <a:ext uri="{FF2B5EF4-FFF2-40B4-BE49-F238E27FC236}">
                  <a16:creationId xmlns:a16="http://schemas.microsoft.com/office/drawing/2014/main" id="{2C404A07-276B-3648-BB25-4EDB5905448C}"/>
                </a:ext>
              </a:extLst>
            </p:cNvPr>
            <p:cNvSpPr/>
            <p:nvPr userDrawn="1"/>
          </p:nvSpPr>
          <p:spPr>
            <a:xfrm>
              <a:off x="7541580" y="6324025"/>
              <a:ext cx="513579" cy="664397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128" name="矩形 13">
              <a:extLst>
                <a:ext uri="{FF2B5EF4-FFF2-40B4-BE49-F238E27FC236}">
                  <a16:creationId xmlns:a16="http://schemas.microsoft.com/office/drawing/2014/main" id="{72B0F29C-A346-8946-9B8E-8F1B9DFF7AD0}"/>
                </a:ext>
              </a:extLst>
            </p:cNvPr>
            <p:cNvSpPr/>
            <p:nvPr userDrawn="1"/>
          </p:nvSpPr>
          <p:spPr>
            <a:xfrm>
              <a:off x="8083608" y="6324025"/>
              <a:ext cx="513579" cy="66439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</a:t>
              </a:r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  <p:sp>
        <p:nvSpPr>
          <p:cNvPr id="46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/>
        </p:nvSpPr>
        <p:spPr>
          <a:xfrm>
            <a:off x="1095467" y="6356939"/>
            <a:ext cx="28543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Proprietary – Restricted Distribution</a:t>
            </a:r>
          </a:p>
        </p:txBody>
      </p:sp>
      <p:sp>
        <p:nvSpPr>
          <p:cNvPr id="48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8202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73" r:id="rId1"/>
    <p:sldLayoutId id="2147485380" r:id="rId2"/>
    <p:sldLayoutId id="2147485381" r:id="rId3"/>
    <p:sldLayoutId id="2147485383" r:id="rId4"/>
    <p:sldLayoutId id="2147485385" r:id="rId5"/>
    <p:sldLayoutId id="2147485387" r:id="rId6"/>
    <p:sldLayoutId id="2147485406" r:id="rId7"/>
    <p:sldLayoutId id="2147485407" r:id="rId8"/>
    <p:sldLayoutId id="2147485408" r:id="rId9"/>
    <p:sldLayoutId id="2147485411" r:id="rId10"/>
    <p:sldLayoutId id="2147485416" r:id="rId11"/>
    <p:sldLayoutId id="2147485417" r:id="rId12"/>
    <p:sldLayoutId id="2147485420" r:id="rId13"/>
    <p:sldLayoutId id="2147485422" r:id="rId14"/>
    <p:sldLayoutId id="2147485423" r:id="rId15"/>
    <p:sldLayoutId id="2147485424" r:id="rId16"/>
    <p:sldLayoutId id="2147485429" r:id="rId17"/>
    <p:sldLayoutId id="2147485433" r:id="rId18"/>
    <p:sldLayoutId id="2147485434" r:id="rId19"/>
  </p:sldLayoutIdLst>
  <p:hf hdr="0" ftr="0" dt="0"/>
  <p:txStyles>
    <p:titleStyle>
      <a:lvl1pPr algn="l" defTabSz="1187323" rtl="0" eaLnBrk="1" latinLnBrk="0" hangingPunct="1">
        <a:lnSpc>
          <a:spcPct val="90000"/>
        </a:lnSpc>
        <a:spcBef>
          <a:spcPct val="0"/>
        </a:spcBef>
        <a:buNone/>
        <a:defRPr sz="571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31" indent="-296831" algn="l" defTabSz="1187323" rtl="0" eaLnBrk="1" latinLnBrk="0" hangingPunct="1">
        <a:lnSpc>
          <a:spcPct val="90000"/>
        </a:lnSpc>
        <a:spcBef>
          <a:spcPts val="1298"/>
        </a:spcBef>
        <a:buFont typeface="Arial" panose="020B0604020202020204" pitchFamily="34" charset="0"/>
        <a:buChar char="•"/>
        <a:defRPr sz="3635" kern="1200">
          <a:solidFill>
            <a:schemeClr val="tx1"/>
          </a:solidFill>
          <a:latin typeface="+mn-lt"/>
          <a:ea typeface="+mn-ea"/>
          <a:cs typeface="+mn-cs"/>
        </a:defRPr>
      </a:lvl1pPr>
      <a:lvl2pPr marL="890493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7" kern="1200">
          <a:solidFill>
            <a:schemeClr val="tx1"/>
          </a:solidFill>
          <a:latin typeface="+mn-lt"/>
          <a:ea typeface="+mn-ea"/>
          <a:cs typeface="+mn-cs"/>
        </a:defRPr>
      </a:lvl2pPr>
      <a:lvl3pPr marL="1484154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7" kern="1200">
          <a:solidFill>
            <a:schemeClr val="tx1"/>
          </a:solidFill>
          <a:latin typeface="+mn-lt"/>
          <a:ea typeface="+mn-ea"/>
          <a:cs typeface="+mn-cs"/>
        </a:defRPr>
      </a:lvl3pPr>
      <a:lvl4pPr marL="2077817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4pPr>
      <a:lvl5pPr marL="2671478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5pPr>
      <a:lvl6pPr marL="3265140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6pPr>
      <a:lvl7pPr marL="3858802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7pPr>
      <a:lvl8pPr marL="4452463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8pPr>
      <a:lvl9pPr marL="5046125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1pPr>
      <a:lvl2pPr marL="593662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2pPr>
      <a:lvl3pPr marL="1187323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3pPr>
      <a:lvl4pPr marL="1780986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4pPr>
      <a:lvl5pPr marL="2374648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5pPr>
      <a:lvl6pPr marL="2968309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6pPr>
      <a:lvl7pPr marL="3561971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7pPr>
      <a:lvl8pPr marL="4155634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8pPr>
      <a:lvl9pPr marL="4749295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1">
          <p15:clr>
            <a:srgbClr val="F26B43"/>
          </p15:clr>
        </p15:guide>
        <p15:guide id="2" pos="3842">
          <p15:clr>
            <a:srgbClr val="F26B43"/>
          </p15:clr>
        </p15:guide>
        <p15:guide id="3" pos="458">
          <p15:clr>
            <a:srgbClr val="F26B43"/>
          </p15:clr>
        </p15:guide>
        <p15:guide id="4" pos="7225">
          <p15:clr>
            <a:srgbClr val="F26B43"/>
          </p15:clr>
        </p15:guide>
        <p15:guide id="5" orient="horz" pos="4100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28543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1D1D1B"/>
                </a:solidFill>
                <a:cs typeface="Arial" panose="020B0604020202020204" pitchFamily="34" charset="0"/>
              </a:rPr>
              <a:t>Huawei Proprietary – Restricted Distribu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cs typeface="Arial" panose="020B0604020202020204" pitchFamily="34" charset="0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  <p:grpSp>
        <p:nvGrpSpPr>
          <p:cNvPr id="5" name="Group 87">
            <a:extLst>
              <a:ext uri="{FF2B5EF4-FFF2-40B4-BE49-F238E27FC236}">
                <a16:creationId xmlns:a16="http://schemas.microsoft.com/office/drawing/2014/main" id="{CBB91E99-E194-4FBA-98E8-C8C541AFAD7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0" y="2625389"/>
            <a:ext cx="1967973" cy="4233515"/>
            <a:chOff x="5343885" y="-48857"/>
            <a:chExt cx="3271316" cy="7037279"/>
          </a:xfrm>
        </p:grpSpPr>
        <p:sp>
          <p:nvSpPr>
            <p:cNvPr id="6" name="矩形 13">
              <a:extLst>
                <a:ext uri="{FF2B5EF4-FFF2-40B4-BE49-F238E27FC236}">
                  <a16:creationId xmlns:a16="http://schemas.microsoft.com/office/drawing/2014/main" id="{87062D29-4B3D-43C6-B2F4-87266745F218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7" name="文本框 15">
              <a:extLst>
                <a:ext uri="{FF2B5EF4-FFF2-40B4-BE49-F238E27FC236}">
                  <a16:creationId xmlns:a16="http://schemas.microsoft.com/office/drawing/2014/main" id="{CF04794B-0451-4AF0-8B15-8E5F7B62486B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8" name="矩形 13">
              <a:extLst>
                <a:ext uri="{FF2B5EF4-FFF2-40B4-BE49-F238E27FC236}">
                  <a16:creationId xmlns:a16="http://schemas.microsoft.com/office/drawing/2014/main" id="{0DBE7A85-19E5-4416-A13E-6FDDFBF0D93F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" name="矩形 13">
              <a:extLst>
                <a:ext uri="{FF2B5EF4-FFF2-40B4-BE49-F238E27FC236}">
                  <a16:creationId xmlns:a16="http://schemas.microsoft.com/office/drawing/2014/main" id="{D0D35BE3-9F1D-49FC-BF5E-47C6902D7165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10" name="矩形 13">
              <a:extLst>
                <a:ext uri="{FF2B5EF4-FFF2-40B4-BE49-F238E27FC236}">
                  <a16:creationId xmlns:a16="http://schemas.microsoft.com/office/drawing/2014/main" id="{A556DFAA-1C6B-4B48-AC0A-CF59626865DB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11" name="矩形 13">
              <a:extLst>
                <a:ext uri="{FF2B5EF4-FFF2-40B4-BE49-F238E27FC236}">
                  <a16:creationId xmlns:a16="http://schemas.microsoft.com/office/drawing/2014/main" id="{425D8B17-2E6F-4DA0-98F8-4FA5B19A7F99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12" name="矩形 13">
              <a:extLst>
                <a:ext uri="{FF2B5EF4-FFF2-40B4-BE49-F238E27FC236}">
                  <a16:creationId xmlns:a16="http://schemas.microsoft.com/office/drawing/2014/main" id="{18E165AF-76C3-4826-9D25-C14CD69C9C28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13" name="矩形 13">
              <a:extLst>
                <a:ext uri="{FF2B5EF4-FFF2-40B4-BE49-F238E27FC236}">
                  <a16:creationId xmlns:a16="http://schemas.microsoft.com/office/drawing/2014/main" id="{7402DD78-561C-4E4A-9131-56F32E913BA0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5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14" name="文本框 15">
              <a:extLst>
                <a:ext uri="{FF2B5EF4-FFF2-40B4-BE49-F238E27FC236}">
                  <a16:creationId xmlns:a16="http://schemas.microsoft.com/office/drawing/2014/main" id="{7BE7850B-DB89-4939-8B9F-08E87A592B05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15" name="矩形 13">
              <a:extLst>
                <a:ext uri="{FF2B5EF4-FFF2-40B4-BE49-F238E27FC236}">
                  <a16:creationId xmlns:a16="http://schemas.microsoft.com/office/drawing/2014/main" id="{4821ECEB-5DCD-4780-8BA6-E48654F5DB65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6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16" name="矩形 13">
              <a:extLst>
                <a:ext uri="{FF2B5EF4-FFF2-40B4-BE49-F238E27FC236}">
                  <a16:creationId xmlns:a16="http://schemas.microsoft.com/office/drawing/2014/main" id="{648D93AC-ED6F-4DF5-A58B-A8DB369F7E3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7" name="矩形 13">
              <a:extLst>
                <a:ext uri="{FF2B5EF4-FFF2-40B4-BE49-F238E27FC236}">
                  <a16:creationId xmlns:a16="http://schemas.microsoft.com/office/drawing/2014/main" id="{E3E6EC3D-1867-4ECC-9F16-D29D3271CF3A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8" name="矩形 13">
              <a:extLst>
                <a:ext uri="{FF2B5EF4-FFF2-40B4-BE49-F238E27FC236}">
                  <a16:creationId xmlns:a16="http://schemas.microsoft.com/office/drawing/2014/main" id="{F5E34584-5D8D-4E4C-8F52-24B9319EC2F4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9" name="矩形 13">
              <a:extLst>
                <a:ext uri="{FF2B5EF4-FFF2-40B4-BE49-F238E27FC236}">
                  <a16:creationId xmlns:a16="http://schemas.microsoft.com/office/drawing/2014/main" id="{861F380C-7EE2-4915-A1B4-2DEC2F665DCD}"/>
                </a:ext>
              </a:extLst>
            </p:cNvPr>
            <p:cNvSpPr/>
            <p:nvPr userDrawn="1"/>
          </p:nvSpPr>
          <p:spPr>
            <a:xfrm>
              <a:off x="6184543" y="4866463"/>
              <a:ext cx="791510" cy="664398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20" name="矩形 13">
              <a:extLst>
                <a:ext uri="{FF2B5EF4-FFF2-40B4-BE49-F238E27FC236}">
                  <a16:creationId xmlns:a16="http://schemas.microsoft.com/office/drawing/2014/main" id="{FB920400-BC53-45C0-8624-91B8E82BC5D2}"/>
                </a:ext>
              </a:extLst>
            </p:cNvPr>
            <p:cNvSpPr/>
            <p:nvPr userDrawn="1"/>
          </p:nvSpPr>
          <p:spPr>
            <a:xfrm>
              <a:off x="6182308" y="4134866"/>
              <a:ext cx="791510" cy="664398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21" name="矩形 13">
              <a:extLst>
                <a:ext uri="{FF2B5EF4-FFF2-40B4-BE49-F238E27FC236}">
                  <a16:creationId xmlns:a16="http://schemas.microsoft.com/office/drawing/2014/main" id="{31078EDC-4A9F-43A4-9BA9-907569D85C92}"/>
                </a:ext>
              </a:extLst>
            </p:cNvPr>
            <p:cNvSpPr/>
            <p:nvPr userDrawn="1"/>
          </p:nvSpPr>
          <p:spPr>
            <a:xfrm>
              <a:off x="6177324" y="5596166"/>
              <a:ext cx="791510" cy="664398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22" name="矩形 13">
              <a:extLst>
                <a:ext uri="{FF2B5EF4-FFF2-40B4-BE49-F238E27FC236}">
                  <a16:creationId xmlns:a16="http://schemas.microsoft.com/office/drawing/2014/main" id="{BF5ECD26-9AAC-4B7D-B7B9-5D3E0A2E9DA4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23" name="矩形 13">
              <a:extLst>
                <a:ext uri="{FF2B5EF4-FFF2-40B4-BE49-F238E27FC236}">
                  <a16:creationId xmlns:a16="http://schemas.microsoft.com/office/drawing/2014/main" id="{9D857771-ACBB-41B6-8066-2ED34322E55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24" name="矩形 13">
              <a:extLst>
                <a:ext uri="{FF2B5EF4-FFF2-40B4-BE49-F238E27FC236}">
                  <a16:creationId xmlns:a16="http://schemas.microsoft.com/office/drawing/2014/main" id="{E5C2B2E4-7360-4919-AFF0-3278A14D20A3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25" name="矩形 13">
              <a:extLst>
                <a:ext uri="{FF2B5EF4-FFF2-40B4-BE49-F238E27FC236}">
                  <a16:creationId xmlns:a16="http://schemas.microsoft.com/office/drawing/2014/main" id="{205FF6C6-9AD5-4A14-97CD-DCA40CA434F5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26" name="矩形 13">
              <a:extLst>
                <a:ext uri="{FF2B5EF4-FFF2-40B4-BE49-F238E27FC236}">
                  <a16:creationId xmlns:a16="http://schemas.microsoft.com/office/drawing/2014/main" id="{569590BE-ACA3-4165-A3C8-EF0EC6DE1F37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27" name="矩形 13">
              <a:extLst>
                <a:ext uri="{FF2B5EF4-FFF2-40B4-BE49-F238E27FC236}">
                  <a16:creationId xmlns:a16="http://schemas.microsoft.com/office/drawing/2014/main" id="{A948AC6C-3900-47EE-9D2B-DAAC34E5977E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28" name="矩形 13">
              <a:extLst>
                <a:ext uri="{FF2B5EF4-FFF2-40B4-BE49-F238E27FC236}">
                  <a16:creationId xmlns:a16="http://schemas.microsoft.com/office/drawing/2014/main" id="{00E044ED-DB0C-4B5B-AA77-2ED06094E771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29" name="矩形 13">
              <a:extLst>
                <a:ext uri="{FF2B5EF4-FFF2-40B4-BE49-F238E27FC236}">
                  <a16:creationId xmlns:a16="http://schemas.microsoft.com/office/drawing/2014/main" id="{AF4BCC50-7A8D-4CF9-9D32-45E989EE069A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30" name="矩形 13">
              <a:extLst>
                <a:ext uri="{FF2B5EF4-FFF2-40B4-BE49-F238E27FC236}">
                  <a16:creationId xmlns:a16="http://schemas.microsoft.com/office/drawing/2014/main" id="{CE13758F-40BE-46B4-B658-12AE1F130F54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31" name="矩形 13">
              <a:extLst>
                <a:ext uri="{FF2B5EF4-FFF2-40B4-BE49-F238E27FC236}">
                  <a16:creationId xmlns:a16="http://schemas.microsoft.com/office/drawing/2014/main" id="{0F7F976C-16D5-4D99-9DA3-F8F819C590B4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32" name="矩形 13">
              <a:extLst>
                <a:ext uri="{FF2B5EF4-FFF2-40B4-BE49-F238E27FC236}">
                  <a16:creationId xmlns:a16="http://schemas.microsoft.com/office/drawing/2014/main" id="{4EC6DA09-C57C-4765-A960-35241AA4D022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33" name="矩形 13">
              <a:extLst>
                <a:ext uri="{FF2B5EF4-FFF2-40B4-BE49-F238E27FC236}">
                  <a16:creationId xmlns:a16="http://schemas.microsoft.com/office/drawing/2014/main" id="{3736C081-FFDA-43EE-911D-ED4CF1851E34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34" name="矩形 13">
              <a:extLst>
                <a:ext uri="{FF2B5EF4-FFF2-40B4-BE49-F238E27FC236}">
                  <a16:creationId xmlns:a16="http://schemas.microsoft.com/office/drawing/2014/main" id="{D7DD5600-BA67-4684-B31D-5D51E301D21F}"/>
                </a:ext>
              </a:extLst>
            </p:cNvPr>
            <p:cNvSpPr/>
            <p:nvPr/>
          </p:nvSpPr>
          <p:spPr>
            <a:xfrm>
              <a:off x="7811114" y="3415851"/>
              <a:ext cx="791510" cy="664398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35" name="矩形 13">
              <a:extLst>
                <a:ext uri="{FF2B5EF4-FFF2-40B4-BE49-F238E27FC236}">
                  <a16:creationId xmlns:a16="http://schemas.microsoft.com/office/drawing/2014/main" id="{BC3B5A4E-6C32-4D05-AF55-90FF1B2229EE}"/>
                </a:ext>
              </a:extLst>
            </p:cNvPr>
            <p:cNvSpPr/>
            <p:nvPr/>
          </p:nvSpPr>
          <p:spPr>
            <a:xfrm>
              <a:off x="7820945" y="4866463"/>
              <a:ext cx="791510" cy="664398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36" name="矩形 13">
              <a:extLst>
                <a:ext uri="{FF2B5EF4-FFF2-40B4-BE49-F238E27FC236}">
                  <a16:creationId xmlns:a16="http://schemas.microsoft.com/office/drawing/2014/main" id="{F88EA78A-8884-4B54-B1DC-FEF751661CA0}"/>
                </a:ext>
              </a:extLst>
            </p:cNvPr>
            <p:cNvSpPr/>
            <p:nvPr/>
          </p:nvSpPr>
          <p:spPr>
            <a:xfrm>
              <a:off x="7818707" y="4134866"/>
              <a:ext cx="791510" cy="664398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37" name="矩形 13">
              <a:extLst>
                <a:ext uri="{FF2B5EF4-FFF2-40B4-BE49-F238E27FC236}">
                  <a16:creationId xmlns:a16="http://schemas.microsoft.com/office/drawing/2014/main" id="{30D76234-18BB-4226-91F3-496541FDB173}"/>
                </a:ext>
              </a:extLst>
            </p:cNvPr>
            <p:cNvSpPr/>
            <p:nvPr/>
          </p:nvSpPr>
          <p:spPr>
            <a:xfrm>
              <a:off x="7823691" y="5596166"/>
              <a:ext cx="791510" cy="664398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190/233/238</a:t>
              </a:r>
            </a:p>
          </p:txBody>
        </p:sp>
        <p:sp>
          <p:nvSpPr>
            <p:cNvPr id="38" name="矩形 13">
              <a:extLst>
                <a:ext uri="{FF2B5EF4-FFF2-40B4-BE49-F238E27FC236}">
                  <a16:creationId xmlns:a16="http://schemas.microsoft.com/office/drawing/2014/main" id="{742E2780-BD5E-413B-9BE8-96DFFF8B5649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39" name="矩形 13">
              <a:extLst>
                <a:ext uri="{FF2B5EF4-FFF2-40B4-BE49-F238E27FC236}">
                  <a16:creationId xmlns:a16="http://schemas.microsoft.com/office/drawing/2014/main" id="{89CF25F0-ACC6-4FC4-948A-BCE4A802FD25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40" name="矩形 13">
              <a:extLst>
                <a:ext uri="{FF2B5EF4-FFF2-40B4-BE49-F238E27FC236}">
                  <a16:creationId xmlns:a16="http://schemas.microsoft.com/office/drawing/2014/main" id="{8D2EF9D5-EBCD-490B-B8B9-645C824F91AD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0/0/0</a:t>
              </a:r>
            </a:p>
          </p:txBody>
        </p:sp>
        <p:sp>
          <p:nvSpPr>
            <p:cNvPr id="41" name="矩形 13">
              <a:extLst>
                <a:ext uri="{FF2B5EF4-FFF2-40B4-BE49-F238E27FC236}">
                  <a16:creationId xmlns:a16="http://schemas.microsoft.com/office/drawing/2014/main" id="{0286ECB3-922D-48DD-AFE7-9C6E9060C6F2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42" name="矩形 13">
              <a:extLst>
                <a:ext uri="{FF2B5EF4-FFF2-40B4-BE49-F238E27FC236}">
                  <a16:creationId xmlns:a16="http://schemas.microsoft.com/office/drawing/2014/main" id="{26843338-C6AE-4E98-95C9-EA160CC2B30A}"/>
                </a:ext>
              </a:extLst>
            </p:cNvPr>
            <p:cNvSpPr/>
            <p:nvPr userDrawn="1"/>
          </p:nvSpPr>
          <p:spPr>
            <a:xfrm>
              <a:off x="6445335" y="6324024"/>
              <a:ext cx="513579" cy="664398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43" name="矩形 13">
              <a:extLst>
                <a:ext uri="{FF2B5EF4-FFF2-40B4-BE49-F238E27FC236}">
                  <a16:creationId xmlns:a16="http://schemas.microsoft.com/office/drawing/2014/main" id="{F41285F2-C98F-44DF-810D-AFDA8C2F7252}"/>
                </a:ext>
              </a:extLst>
            </p:cNvPr>
            <p:cNvSpPr/>
            <p:nvPr userDrawn="1"/>
          </p:nvSpPr>
          <p:spPr>
            <a:xfrm>
              <a:off x="7003279" y="6324024"/>
              <a:ext cx="513579" cy="664398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44" name="矩形 13">
              <a:extLst>
                <a:ext uri="{FF2B5EF4-FFF2-40B4-BE49-F238E27FC236}">
                  <a16:creationId xmlns:a16="http://schemas.microsoft.com/office/drawing/2014/main" id="{316800BF-7174-4B63-B993-7FF3F38E786A}"/>
                </a:ext>
              </a:extLst>
            </p:cNvPr>
            <p:cNvSpPr/>
            <p:nvPr userDrawn="1"/>
          </p:nvSpPr>
          <p:spPr>
            <a:xfrm>
              <a:off x="7551547" y="6324024"/>
              <a:ext cx="513579" cy="664398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45" name="矩形 13">
              <a:extLst>
                <a:ext uri="{FF2B5EF4-FFF2-40B4-BE49-F238E27FC236}">
                  <a16:creationId xmlns:a16="http://schemas.microsoft.com/office/drawing/2014/main" id="{E3AFA688-A359-4262-BC4E-961D2F75A295}"/>
                </a:ext>
              </a:extLst>
            </p:cNvPr>
            <p:cNvSpPr/>
            <p:nvPr userDrawn="1"/>
          </p:nvSpPr>
          <p:spPr>
            <a:xfrm>
              <a:off x="8098559" y="6324024"/>
              <a:ext cx="513579" cy="66439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5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03958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43" r:id="rId1"/>
    <p:sldLayoutId id="2147485447" r:id="rId2"/>
  </p:sldLayoutIdLst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56">
          <p15:clr>
            <a:srgbClr val="F26B43"/>
          </p15:clr>
        </p15:guide>
        <p15:guide id="2" pos="7216">
          <p15:clr>
            <a:srgbClr val="F26B43"/>
          </p15:clr>
        </p15:guide>
        <p15:guide id="3" orient="horz" pos="560">
          <p15:clr>
            <a:srgbClr val="F26B43"/>
          </p15:clr>
        </p15:guide>
        <p15:guide id="4" orient="horz" pos="728">
          <p15:clr>
            <a:srgbClr val="F26B43"/>
          </p15:clr>
        </p15:guide>
        <p15:guide id="5" orient="horz" pos="3968">
          <p15:clr>
            <a:srgbClr val="F26B43"/>
          </p15:clr>
        </p15:guide>
        <p15:guide id="6" orient="horz" pos="3800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1463467" cy="242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204"/>
            <a:r>
              <a:rPr lang="en-US" sz="974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2" y="6402806"/>
            <a:ext cx="499729" cy="1502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582">
              <a:defRPr/>
            </a:pPr>
            <a:fld id="{C3837181-38C6-AD4F-B8BA-B444770388BB}" type="slidenum">
              <a:rPr lang="en-US" sz="974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90582">
                <a:defRPr/>
              </a:pPr>
              <a:t>‹#›</a:t>
            </a:fld>
            <a:endParaRPr lang="en-US" sz="974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1" name="图片 40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000" y="6319871"/>
            <a:ext cx="1269075" cy="271153"/>
          </a:xfrm>
          <a:prstGeom prst="rect">
            <a:avLst/>
          </a:prstGeom>
        </p:spPr>
      </p:pic>
      <p:grpSp>
        <p:nvGrpSpPr>
          <p:cNvPr id="25" name="组合 24"/>
          <p:cNvGrpSpPr/>
          <p:nvPr userDrawn="1"/>
        </p:nvGrpSpPr>
        <p:grpSpPr>
          <a:xfrm>
            <a:off x="12216278" y="2931938"/>
            <a:ext cx="1982916" cy="3934682"/>
            <a:chOff x="12216278" y="2262477"/>
            <a:chExt cx="1982916" cy="4604143"/>
          </a:xfrm>
        </p:grpSpPr>
        <p:grpSp>
          <p:nvGrpSpPr>
            <p:cNvPr id="26" name="组合 25"/>
            <p:cNvGrpSpPr/>
            <p:nvPr userDrawn="1"/>
          </p:nvGrpSpPr>
          <p:grpSpPr>
            <a:xfrm>
              <a:off x="12315635" y="2262477"/>
              <a:ext cx="1883559" cy="692624"/>
              <a:chOff x="12315635" y="2207613"/>
              <a:chExt cx="1883559" cy="692624"/>
            </a:xfrm>
          </p:grpSpPr>
          <p:sp>
            <p:nvSpPr>
              <p:cNvPr id="44" name="矩形 5">
                <a:extLst>
                  <a:ext uri="{FF2B5EF4-FFF2-40B4-BE49-F238E27FC236}">
                    <a16:creationId xmlns:a16="http://schemas.microsoft.com/office/drawing/2014/main" id="{3B0B5EC2-EA55-CC45-A9D0-D5EA5D768C99}"/>
                  </a:ext>
                </a:extLst>
              </p:cNvPr>
              <p:cNvSpPr/>
              <p:nvPr userDrawn="1"/>
            </p:nvSpPr>
            <p:spPr>
              <a:xfrm>
                <a:off x="12315635" y="2401808"/>
                <a:ext cx="911019" cy="498429"/>
              </a:xfrm>
              <a:prstGeom prst="rect">
                <a:avLst/>
              </a:prstGeom>
              <a:solidFill>
                <a:srgbClr val="C8102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204"/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P</a:t>
                </a:r>
                <a:r>
                  <a:rPr kumimoji="1" lang="en-US" altLang="zh-Hant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ANTONE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186C</a:t>
                </a:r>
              </a:p>
              <a:p>
                <a:pPr algn="ctr" defTabSz="914204"/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 200/16/46</a:t>
                </a:r>
              </a:p>
            </p:txBody>
          </p:sp>
          <p:sp>
            <p:nvSpPr>
              <p:cNvPr id="45" name="矩形 9">
                <a:extLst>
                  <a:ext uri="{FF2B5EF4-FFF2-40B4-BE49-F238E27FC236}">
                    <a16:creationId xmlns:a16="http://schemas.microsoft.com/office/drawing/2014/main" id="{992224C5-04A6-C041-B257-13137945DBB8}"/>
                  </a:ext>
                </a:extLst>
              </p:cNvPr>
              <p:cNvSpPr/>
              <p:nvPr userDrawn="1"/>
            </p:nvSpPr>
            <p:spPr>
              <a:xfrm>
                <a:off x="13288175" y="2401808"/>
                <a:ext cx="911019" cy="498429"/>
              </a:xfrm>
              <a:prstGeom prst="rect">
                <a:avLst/>
              </a:prstGeom>
              <a:solidFill>
                <a:srgbClr val="C7000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204"/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P</a:t>
                </a:r>
                <a:r>
                  <a:rPr kumimoji="1" lang="en-US" altLang="zh-Hant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ANTONE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185C</a:t>
                </a:r>
              </a:p>
              <a:p>
                <a:pPr algn="ctr" defTabSz="914204"/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 199/0/11</a:t>
                </a:r>
              </a:p>
            </p:txBody>
          </p:sp>
          <p:sp>
            <p:nvSpPr>
              <p:cNvPr id="46" name="文本框 31">
                <a:extLst>
                  <a:ext uri="{FF2B5EF4-FFF2-40B4-BE49-F238E27FC236}">
                    <a16:creationId xmlns:a16="http://schemas.microsoft.com/office/drawing/2014/main" id="{58918196-0639-EE4B-AFC2-315BE04587B9}"/>
                  </a:ext>
                </a:extLst>
              </p:cNvPr>
              <p:cNvSpPr txBox="1"/>
              <p:nvPr userDrawn="1"/>
            </p:nvSpPr>
            <p:spPr>
              <a:xfrm>
                <a:off x="12326898" y="2207613"/>
                <a:ext cx="384721" cy="18007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defTabSz="914204"/>
                <a:r>
                  <a:rPr kumimoji="1" lang="zh-CN" altLang="en-US" sz="1000" dirty="0">
                    <a:solidFill>
                      <a:srgbClr val="1D1D1A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品牌色</a:t>
                </a:r>
              </a:p>
            </p:txBody>
          </p:sp>
        </p:grpSp>
        <p:grpSp>
          <p:nvGrpSpPr>
            <p:cNvPr id="27" name="组合 26"/>
            <p:cNvGrpSpPr/>
            <p:nvPr userDrawn="1"/>
          </p:nvGrpSpPr>
          <p:grpSpPr>
            <a:xfrm>
              <a:off x="12216278" y="3054642"/>
              <a:ext cx="1982912" cy="3811978"/>
              <a:chOff x="12216278" y="3054642"/>
              <a:chExt cx="1982912" cy="3811978"/>
            </a:xfrm>
          </p:grpSpPr>
          <p:sp>
            <p:nvSpPr>
              <p:cNvPr id="28" name="矩形 12">
                <a:extLst>
                  <a:ext uri="{FF2B5EF4-FFF2-40B4-BE49-F238E27FC236}">
                    <a16:creationId xmlns:a16="http://schemas.microsoft.com/office/drawing/2014/main" id="{DCA8B73C-0B87-284F-805F-752EBF20B768}"/>
                  </a:ext>
                </a:extLst>
              </p:cNvPr>
              <p:cNvSpPr/>
              <p:nvPr userDrawn="1"/>
            </p:nvSpPr>
            <p:spPr>
              <a:xfrm>
                <a:off x="12315640" y="3785971"/>
                <a:ext cx="885201" cy="462672"/>
              </a:xfrm>
              <a:prstGeom prst="rect">
                <a:avLst/>
              </a:prstGeom>
              <a:solidFill>
                <a:srgbClr val="EA5A4F"/>
              </a:solidFill>
              <a:ln>
                <a:solidFill>
                  <a:srgbClr val="EA5A4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204"/>
                <a:r>
                  <a:rPr kumimoji="1" lang="mr-IN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234</a:t>
                </a:r>
                <a:r>
                  <a:rPr kumimoji="1" lang="mr-IN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90/79</a:t>
                </a:r>
                <a:endParaRPr kumimoji="1" lang="mr-IN" altLang="zh-CN" sz="7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29" name="矩形 13">
                <a:extLst>
                  <a:ext uri="{FF2B5EF4-FFF2-40B4-BE49-F238E27FC236}">
                    <a16:creationId xmlns:a16="http://schemas.microsoft.com/office/drawing/2014/main" id="{138A39A8-BB4E-CD4E-9201-F1785C874F92}"/>
                  </a:ext>
                </a:extLst>
              </p:cNvPr>
              <p:cNvSpPr/>
              <p:nvPr userDrawn="1"/>
            </p:nvSpPr>
            <p:spPr>
              <a:xfrm>
                <a:off x="12315640" y="3259312"/>
                <a:ext cx="885201" cy="462672"/>
              </a:xfrm>
              <a:prstGeom prst="rect">
                <a:avLst/>
              </a:prstGeom>
              <a:solidFill>
                <a:srgbClr val="78000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204"/>
                <a:r>
                  <a:rPr kumimoji="1" lang="mr-IN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120</a:t>
                </a:r>
                <a:r>
                  <a:rPr kumimoji="1" lang="mr-IN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0/15</a:t>
                </a:r>
                <a:endParaRPr kumimoji="1" lang="mr-IN" altLang="zh-CN" sz="7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0" name="文本框 15">
                <a:extLst>
                  <a:ext uri="{FF2B5EF4-FFF2-40B4-BE49-F238E27FC236}">
                    <a16:creationId xmlns:a16="http://schemas.microsoft.com/office/drawing/2014/main" id="{8F53C07A-1022-C740-8F8D-97538E174D38}"/>
                  </a:ext>
                </a:extLst>
              </p:cNvPr>
              <p:cNvSpPr txBox="1"/>
              <p:nvPr userDrawn="1"/>
            </p:nvSpPr>
            <p:spPr>
              <a:xfrm>
                <a:off x="12216278" y="3054642"/>
                <a:ext cx="569387" cy="18007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 anchorCtr="0">
                <a:spAutoFit/>
              </a:bodyPr>
              <a:lstStyle/>
              <a:p>
                <a:pPr algn="ctr" defTabSz="914204"/>
                <a:r>
                  <a:rPr kumimoji="1" lang="zh-CN" altLang="en-US" sz="1000" dirty="0">
                    <a:solidFill>
                      <a:srgbClr val="1D1D1A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辅助色</a:t>
                </a:r>
              </a:p>
            </p:txBody>
          </p:sp>
          <p:sp>
            <p:nvSpPr>
              <p:cNvPr id="31" name="矩形 16">
                <a:extLst>
                  <a:ext uri="{FF2B5EF4-FFF2-40B4-BE49-F238E27FC236}">
                    <a16:creationId xmlns:a16="http://schemas.microsoft.com/office/drawing/2014/main" id="{306A7598-C00D-994F-82DA-B39F3C2E0AAD}"/>
                  </a:ext>
                </a:extLst>
              </p:cNvPr>
              <p:cNvSpPr/>
              <p:nvPr userDrawn="1"/>
            </p:nvSpPr>
            <p:spPr>
              <a:xfrm>
                <a:off x="12315640" y="4836793"/>
                <a:ext cx="885201" cy="462672"/>
              </a:xfrm>
              <a:prstGeom prst="rect">
                <a:avLst/>
              </a:prstGeom>
              <a:solidFill>
                <a:srgbClr val="F8B53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204"/>
                <a:r>
                  <a:rPr kumimoji="1" lang="mr-IN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248</a:t>
                </a:r>
                <a:r>
                  <a:rPr kumimoji="1" lang="mr-IN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81/60</a:t>
                </a:r>
                <a:endParaRPr kumimoji="1" lang="mr-IN" altLang="zh-CN" sz="7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2" name="矩形 17">
                <a:extLst>
                  <a:ext uri="{FF2B5EF4-FFF2-40B4-BE49-F238E27FC236}">
                    <a16:creationId xmlns:a16="http://schemas.microsoft.com/office/drawing/2014/main" id="{C1423292-FF2F-A74C-943E-1C3C47534098}"/>
                  </a:ext>
                </a:extLst>
              </p:cNvPr>
              <p:cNvSpPr/>
              <p:nvPr userDrawn="1"/>
            </p:nvSpPr>
            <p:spPr>
              <a:xfrm>
                <a:off x="12315640" y="4319278"/>
                <a:ext cx="885201" cy="462672"/>
              </a:xfrm>
              <a:prstGeom prst="rect">
                <a:avLst/>
              </a:prstGeom>
              <a:solidFill>
                <a:srgbClr val="EB5C0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204"/>
                <a:r>
                  <a:rPr kumimoji="1" lang="mr-IN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235</a:t>
                </a:r>
                <a:r>
                  <a:rPr kumimoji="1" lang="mr-IN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92/1</a:t>
                </a:r>
                <a:endParaRPr kumimoji="1" lang="mr-IN" altLang="zh-CN" sz="7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3" name="矩形 18">
                <a:extLst>
                  <a:ext uri="{FF2B5EF4-FFF2-40B4-BE49-F238E27FC236}">
                    <a16:creationId xmlns:a16="http://schemas.microsoft.com/office/drawing/2014/main" id="{2A29AF15-F5C4-A842-A63B-5DBA549CB92F}"/>
                  </a:ext>
                </a:extLst>
              </p:cNvPr>
              <p:cNvSpPr/>
              <p:nvPr userDrawn="1"/>
            </p:nvSpPr>
            <p:spPr>
              <a:xfrm>
                <a:off x="12315636" y="5880294"/>
                <a:ext cx="911019" cy="462672"/>
              </a:xfrm>
              <a:prstGeom prst="rect">
                <a:avLst/>
              </a:prstGeom>
              <a:solidFill>
                <a:srgbClr val="8989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204"/>
                <a:r>
                  <a:rPr kumimoji="1" lang="mr-IN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137/137/137</a:t>
                </a:r>
                <a:endParaRPr kumimoji="1" lang="mr-IN" altLang="zh-CN" sz="7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4" name="矩形 19">
                <a:extLst>
                  <a:ext uri="{FF2B5EF4-FFF2-40B4-BE49-F238E27FC236}">
                    <a16:creationId xmlns:a16="http://schemas.microsoft.com/office/drawing/2014/main" id="{E9EA970A-4D36-BC41-B8BE-40DF553320E7}"/>
                  </a:ext>
                </a:extLst>
              </p:cNvPr>
              <p:cNvSpPr/>
              <p:nvPr userDrawn="1"/>
            </p:nvSpPr>
            <p:spPr>
              <a:xfrm>
                <a:off x="12315636" y="5362779"/>
                <a:ext cx="911019" cy="462672"/>
              </a:xfrm>
              <a:prstGeom prst="rect">
                <a:avLst/>
              </a:prstGeom>
              <a:solidFill>
                <a:srgbClr val="23181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204"/>
                <a:r>
                  <a:rPr kumimoji="1" lang="mr-IN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35/24/21</a:t>
                </a:r>
                <a:endParaRPr kumimoji="1" lang="mr-IN" altLang="zh-CN" sz="7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5" name="矩形 22">
                <a:extLst>
                  <a:ext uri="{FF2B5EF4-FFF2-40B4-BE49-F238E27FC236}">
                    <a16:creationId xmlns:a16="http://schemas.microsoft.com/office/drawing/2014/main" id="{14EE21FB-1D92-0241-ABA5-5E9A6AEE0DC8}"/>
                  </a:ext>
                </a:extLst>
              </p:cNvPr>
              <p:cNvSpPr/>
              <p:nvPr userDrawn="1"/>
            </p:nvSpPr>
            <p:spPr>
              <a:xfrm>
                <a:off x="12315636" y="6403948"/>
                <a:ext cx="911019" cy="462672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204"/>
                <a:r>
                  <a:rPr kumimoji="1" lang="mr-IN" altLang="zh-CN" sz="700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 221</a:t>
                </a:r>
                <a:r>
                  <a:rPr kumimoji="1" lang="mr-IN" altLang="zh-CN" sz="700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21/221</a:t>
                </a:r>
                <a:endParaRPr kumimoji="1" lang="mr-IN" altLang="zh-CN" sz="700" b="1" dirty="0">
                  <a:solidFill>
                    <a:srgbClr val="666666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6" name="矩形 12">
                <a:extLst>
                  <a:ext uri="{FF2B5EF4-FFF2-40B4-BE49-F238E27FC236}">
                    <a16:creationId xmlns:a16="http://schemas.microsoft.com/office/drawing/2014/main" id="{883734A3-2645-434A-9DCC-1416B6C687CC}"/>
                  </a:ext>
                </a:extLst>
              </p:cNvPr>
              <p:cNvSpPr/>
              <p:nvPr userDrawn="1"/>
            </p:nvSpPr>
            <p:spPr>
              <a:xfrm>
                <a:off x="13288175" y="3785971"/>
                <a:ext cx="885201" cy="462672"/>
              </a:xfrm>
              <a:prstGeom prst="rect">
                <a:avLst/>
              </a:prstGeom>
              <a:solidFill>
                <a:srgbClr val="E98C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204"/>
                <a:r>
                  <a:rPr kumimoji="1" lang="mr-IN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233</a:t>
                </a:r>
                <a:r>
                  <a:rPr kumimoji="1" lang="mr-IN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40/128</a:t>
                </a:r>
                <a:endParaRPr kumimoji="1" lang="mr-IN" altLang="zh-CN" sz="7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7" name="矩形 13">
                <a:extLst>
                  <a:ext uri="{FF2B5EF4-FFF2-40B4-BE49-F238E27FC236}">
                    <a16:creationId xmlns:a16="http://schemas.microsoft.com/office/drawing/2014/main" id="{1FF13552-FB3D-134A-A80A-6CFB35DFE1A1}"/>
                  </a:ext>
                </a:extLst>
              </p:cNvPr>
              <p:cNvSpPr/>
              <p:nvPr userDrawn="1"/>
            </p:nvSpPr>
            <p:spPr>
              <a:xfrm>
                <a:off x="13288175" y="3259312"/>
                <a:ext cx="885201" cy="462672"/>
              </a:xfrm>
              <a:prstGeom prst="rect">
                <a:avLst/>
              </a:prstGeom>
              <a:solidFill>
                <a:srgbClr val="A72126"/>
              </a:solidFill>
              <a:ln>
                <a:solidFill>
                  <a:srgbClr val="9F000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204"/>
                <a:r>
                  <a:rPr kumimoji="1" lang="mr-IN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159</a:t>
                </a:r>
                <a:r>
                  <a:rPr kumimoji="1" lang="mr-IN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0/1</a:t>
                </a:r>
                <a:endParaRPr kumimoji="1" lang="mr-IN" altLang="zh-CN" sz="7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8" name="矩形 16">
                <a:extLst>
                  <a:ext uri="{FF2B5EF4-FFF2-40B4-BE49-F238E27FC236}">
                    <a16:creationId xmlns:a16="http://schemas.microsoft.com/office/drawing/2014/main" id="{0A96471B-CB12-1443-B01F-C14C9112C149}"/>
                  </a:ext>
                </a:extLst>
              </p:cNvPr>
              <p:cNvSpPr/>
              <p:nvPr userDrawn="1"/>
            </p:nvSpPr>
            <p:spPr>
              <a:xfrm>
                <a:off x="13288175" y="4836793"/>
                <a:ext cx="885201" cy="462672"/>
              </a:xfrm>
              <a:prstGeom prst="rect">
                <a:avLst/>
              </a:prstGeom>
              <a:solidFill>
                <a:srgbClr val="F5DC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204"/>
                <a:r>
                  <a:rPr kumimoji="1" lang="mr-IN" altLang="zh-CN" sz="700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 245</a:t>
                </a:r>
                <a:r>
                  <a:rPr kumimoji="1" lang="mr-IN" altLang="zh-CN" sz="700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20/87</a:t>
                </a:r>
                <a:endParaRPr kumimoji="1" lang="mr-IN" altLang="zh-CN" sz="700" b="1" dirty="0">
                  <a:solidFill>
                    <a:srgbClr val="666666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9" name="矩形 17">
                <a:extLst>
                  <a:ext uri="{FF2B5EF4-FFF2-40B4-BE49-F238E27FC236}">
                    <a16:creationId xmlns:a16="http://schemas.microsoft.com/office/drawing/2014/main" id="{61890D59-CF8B-1449-A836-3A304EC9A907}"/>
                  </a:ext>
                </a:extLst>
              </p:cNvPr>
              <p:cNvSpPr/>
              <p:nvPr userDrawn="1"/>
            </p:nvSpPr>
            <p:spPr>
              <a:xfrm>
                <a:off x="13288175" y="4319278"/>
                <a:ext cx="885201" cy="462672"/>
              </a:xfrm>
              <a:prstGeom prst="rect">
                <a:avLst/>
              </a:prstGeom>
              <a:solidFill>
                <a:srgbClr val="F085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204"/>
                <a:r>
                  <a:rPr kumimoji="1" lang="mr-IN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240</a:t>
                </a:r>
                <a:r>
                  <a:rPr kumimoji="1" lang="mr-IN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33/0</a:t>
                </a:r>
                <a:endParaRPr kumimoji="1" lang="mr-IN" altLang="zh-CN" sz="7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40" name="矩形 18">
                <a:extLst>
                  <a:ext uri="{FF2B5EF4-FFF2-40B4-BE49-F238E27FC236}">
                    <a16:creationId xmlns:a16="http://schemas.microsoft.com/office/drawing/2014/main" id="{0466A1E1-E7C7-FD49-9880-9E44BED19FF5}"/>
                  </a:ext>
                </a:extLst>
              </p:cNvPr>
              <p:cNvSpPr/>
              <p:nvPr userDrawn="1"/>
            </p:nvSpPr>
            <p:spPr>
              <a:xfrm>
                <a:off x="13288171" y="5880294"/>
                <a:ext cx="911019" cy="462672"/>
              </a:xfrm>
              <a:prstGeom prst="rect">
                <a:avLst/>
              </a:prstGeom>
              <a:solidFill>
                <a:srgbClr val="B5B5B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204"/>
                <a:r>
                  <a:rPr kumimoji="1" lang="mr-IN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181</a:t>
                </a:r>
                <a:r>
                  <a:rPr kumimoji="1" lang="mr-IN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81/181</a:t>
                </a:r>
                <a:endParaRPr kumimoji="1" lang="mr-IN" altLang="zh-CN" sz="7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42" name="矩形 19">
                <a:extLst>
                  <a:ext uri="{FF2B5EF4-FFF2-40B4-BE49-F238E27FC236}">
                    <a16:creationId xmlns:a16="http://schemas.microsoft.com/office/drawing/2014/main" id="{B21AD6AC-1275-0142-A9EA-D77B26CB40EF}"/>
                  </a:ext>
                </a:extLst>
              </p:cNvPr>
              <p:cNvSpPr/>
              <p:nvPr userDrawn="1"/>
            </p:nvSpPr>
            <p:spPr>
              <a:xfrm>
                <a:off x="13288171" y="5362779"/>
                <a:ext cx="911019" cy="462672"/>
              </a:xfrm>
              <a:prstGeom prst="rect">
                <a:avLst/>
              </a:prstGeom>
              <a:solidFill>
                <a:srgbClr val="5957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204"/>
                <a:r>
                  <a:rPr kumimoji="1" lang="mr-IN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89</a:t>
                </a:r>
                <a:r>
                  <a:rPr kumimoji="1" lang="mr-IN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87/87</a:t>
                </a:r>
                <a:endParaRPr kumimoji="1" lang="mr-IN" altLang="zh-CN" sz="7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43" name="矩形 22">
                <a:extLst>
                  <a:ext uri="{FF2B5EF4-FFF2-40B4-BE49-F238E27FC236}">
                    <a16:creationId xmlns:a16="http://schemas.microsoft.com/office/drawing/2014/main" id="{238BAC2A-AE09-A84D-875D-8472236D6610}"/>
                  </a:ext>
                </a:extLst>
              </p:cNvPr>
              <p:cNvSpPr/>
              <p:nvPr userDrawn="1"/>
            </p:nvSpPr>
            <p:spPr>
              <a:xfrm>
                <a:off x="13288171" y="6403948"/>
                <a:ext cx="911019" cy="462672"/>
              </a:xfrm>
              <a:prstGeom prst="rect">
                <a:avLst/>
              </a:prstGeom>
              <a:solidFill>
                <a:srgbClr val="FFFFFF"/>
              </a:solidFill>
              <a:ln w="6350">
                <a:solidFill>
                  <a:schemeClr val="bg1">
                    <a:lumMod val="10000"/>
                    <a:lumOff val="9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204"/>
                <a:r>
                  <a:rPr kumimoji="1" lang="mr-IN" altLang="zh-CN" sz="700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 255</a:t>
                </a:r>
                <a:r>
                  <a:rPr kumimoji="1" lang="mr-IN" altLang="zh-CN" sz="700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55/255</a:t>
                </a:r>
                <a:endParaRPr kumimoji="1" lang="mr-IN" altLang="zh-CN" sz="700" b="1" dirty="0">
                  <a:solidFill>
                    <a:srgbClr val="666666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52599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43" r:id="rId1"/>
    <p:sldLayoutId id="2147485644" r:id="rId2"/>
    <p:sldLayoutId id="2147485645" r:id="rId3"/>
  </p:sldLayoutIdLst>
  <p:hf hdr="0" ftr="0" dt="0"/>
  <p:txStyles>
    <p:titleStyle>
      <a:lvl1pPr algn="l" defTabSz="1187441" rtl="0" eaLnBrk="1" latinLnBrk="0" hangingPunct="1">
        <a:lnSpc>
          <a:spcPct val="90000"/>
        </a:lnSpc>
        <a:spcBef>
          <a:spcPct val="0"/>
        </a:spcBef>
        <a:buNone/>
        <a:defRPr sz="571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61" indent="-296861" algn="l" defTabSz="1187441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5" kern="1200">
          <a:solidFill>
            <a:schemeClr val="tx1"/>
          </a:solidFill>
          <a:latin typeface="+mn-lt"/>
          <a:ea typeface="+mn-ea"/>
          <a:cs typeface="+mn-cs"/>
        </a:defRPr>
      </a:lvl1pPr>
      <a:lvl2pPr marL="890582" indent="-296861" algn="l" defTabSz="1187441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7" kern="1200">
          <a:solidFill>
            <a:schemeClr val="tx1"/>
          </a:solidFill>
          <a:latin typeface="+mn-lt"/>
          <a:ea typeface="+mn-ea"/>
          <a:cs typeface="+mn-cs"/>
        </a:defRPr>
      </a:lvl2pPr>
      <a:lvl3pPr marL="1484303" indent="-296861" algn="l" defTabSz="1187441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7" kern="1200">
          <a:solidFill>
            <a:schemeClr val="tx1"/>
          </a:solidFill>
          <a:latin typeface="+mn-lt"/>
          <a:ea typeface="+mn-ea"/>
          <a:cs typeface="+mn-cs"/>
        </a:defRPr>
      </a:lvl3pPr>
      <a:lvl4pPr marL="2078024" indent="-296861" algn="l" defTabSz="1187441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1746" indent="-296861" algn="l" defTabSz="1187441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5467" indent="-296861" algn="l" defTabSz="1187441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59188" indent="-296861" algn="l" defTabSz="1187441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2909" indent="-296861" algn="l" defTabSz="1187441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6629" indent="-296861" algn="l" defTabSz="1187441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441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722" algn="l" defTabSz="1187441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441" algn="l" defTabSz="1187441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165" algn="l" defTabSz="1187441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4885" algn="l" defTabSz="1187441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8606" algn="l" defTabSz="1187441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2327" algn="l" defTabSz="1187441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6050" algn="l" defTabSz="1187441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49770" algn="l" defTabSz="1187441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1">
          <p15:clr>
            <a:srgbClr val="F26B43"/>
          </p15:clr>
        </p15:guide>
        <p15:guide id="2" pos="3842">
          <p15:clr>
            <a:srgbClr val="F26B43"/>
          </p15:clr>
        </p15:guide>
        <p15:guide id="3" pos="458">
          <p15:clr>
            <a:srgbClr val="F26B43"/>
          </p15:clr>
        </p15:guide>
        <p15:guide id="4" pos="7225">
          <p15:clr>
            <a:srgbClr val="F26B43"/>
          </p15:clr>
        </p15:guide>
        <p15:guide id="5" orient="horz" pos="4100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" name="Group 87">
            <a:extLst>
              <a:ext uri="{FF2B5EF4-FFF2-40B4-BE49-F238E27FC236}">
                <a16:creationId xmlns:a16="http://schemas.microsoft.com/office/drawing/2014/main" id="{37333705-F8D6-2847-B3CB-F2FAB51E2A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1" y="2625389"/>
            <a:ext cx="1963323" cy="4233515"/>
            <a:chOff x="5343885" y="-48857"/>
            <a:chExt cx="3263586" cy="7037279"/>
          </a:xfrm>
        </p:grpSpPr>
        <p:sp>
          <p:nvSpPr>
            <p:cNvPr id="89" name="矩形 13">
              <a:extLst>
                <a:ext uri="{FF2B5EF4-FFF2-40B4-BE49-F238E27FC236}">
                  <a16:creationId xmlns:a16="http://schemas.microsoft.com/office/drawing/2014/main" id="{B14DFA89-D483-CF47-82CC-DD86D7CAB09E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90" name="文本框 15">
              <a:extLst>
                <a:ext uri="{FF2B5EF4-FFF2-40B4-BE49-F238E27FC236}">
                  <a16:creationId xmlns:a16="http://schemas.microsoft.com/office/drawing/2014/main" id="{8223ADA0-340A-794B-93B7-24AFF612A719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91" name="矩形 13">
              <a:extLst>
                <a:ext uri="{FF2B5EF4-FFF2-40B4-BE49-F238E27FC236}">
                  <a16:creationId xmlns:a16="http://schemas.microsoft.com/office/drawing/2014/main" id="{5F63E0E3-4F22-7948-AB1A-40A84ECA92EC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2" name="矩形 13">
              <a:extLst>
                <a:ext uri="{FF2B5EF4-FFF2-40B4-BE49-F238E27FC236}">
                  <a16:creationId xmlns:a16="http://schemas.microsoft.com/office/drawing/2014/main" id="{29C4A3C6-7C7B-7140-8F73-591E9F49143F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93" name="矩形 13">
              <a:extLst>
                <a:ext uri="{FF2B5EF4-FFF2-40B4-BE49-F238E27FC236}">
                  <a16:creationId xmlns:a16="http://schemas.microsoft.com/office/drawing/2014/main" id="{BE4C9A8D-46B0-5B40-BC47-DB6C4899227F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94" name="矩形 13">
              <a:extLst>
                <a:ext uri="{FF2B5EF4-FFF2-40B4-BE49-F238E27FC236}">
                  <a16:creationId xmlns:a16="http://schemas.microsoft.com/office/drawing/2014/main" id="{612F2ED4-F7A4-9E48-95E1-8D07B3BBE962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95" name="矩形 13">
              <a:extLst>
                <a:ext uri="{FF2B5EF4-FFF2-40B4-BE49-F238E27FC236}">
                  <a16:creationId xmlns:a16="http://schemas.microsoft.com/office/drawing/2014/main" id="{A9E1D476-C288-8945-A68A-1F20C557294B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6" name="矩形 13">
              <a:extLst>
                <a:ext uri="{FF2B5EF4-FFF2-40B4-BE49-F238E27FC236}">
                  <a16:creationId xmlns:a16="http://schemas.microsoft.com/office/drawing/2014/main" id="{42823EBB-E62E-F149-AC9A-09950051F283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5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97" name="文本框 15">
              <a:extLst>
                <a:ext uri="{FF2B5EF4-FFF2-40B4-BE49-F238E27FC236}">
                  <a16:creationId xmlns:a16="http://schemas.microsoft.com/office/drawing/2014/main" id="{EA01C299-6FF2-3642-AAEC-A1DF62D9C654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98" name="矩形 13">
              <a:extLst>
                <a:ext uri="{FF2B5EF4-FFF2-40B4-BE49-F238E27FC236}">
                  <a16:creationId xmlns:a16="http://schemas.microsoft.com/office/drawing/2014/main" id="{B84AB502-165F-764A-9621-65CA8CBBEAEA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6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99" name="矩形 13">
              <a:extLst>
                <a:ext uri="{FF2B5EF4-FFF2-40B4-BE49-F238E27FC236}">
                  <a16:creationId xmlns:a16="http://schemas.microsoft.com/office/drawing/2014/main" id="{CB8870E8-3E95-764C-B621-A168E194CC7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00" name="矩形 13">
              <a:extLst>
                <a:ext uri="{FF2B5EF4-FFF2-40B4-BE49-F238E27FC236}">
                  <a16:creationId xmlns:a16="http://schemas.microsoft.com/office/drawing/2014/main" id="{356EF69A-1936-544F-A95F-0664F4E186D5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01" name="矩形 13">
              <a:extLst>
                <a:ext uri="{FF2B5EF4-FFF2-40B4-BE49-F238E27FC236}">
                  <a16:creationId xmlns:a16="http://schemas.microsoft.com/office/drawing/2014/main" id="{03EBAB43-95A5-1C4A-8458-B86EB3D51FCA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02" name="矩形 13">
              <a:extLst>
                <a:ext uri="{FF2B5EF4-FFF2-40B4-BE49-F238E27FC236}">
                  <a16:creationId xmlns:a16="http://schemas.microsoft.com/office/drawing/2014/main" id="{371A8520-F934-304C-B57F-B49F768694E2}"/>
                </a:ext>
              </a:extLst>
            </p:cNvPr>
            <p:cNvSpPr/>
            <p:nvPr userDrawn="1"/>
          </p:nvSpPr>
          <p:spPr>
            <a:xfrm>
              <a:off x="6194511" y="4866463"/>
              <a:ext cx="791510" cy="664397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103" name="矩形 13">
              <a:extLst>
                <a:ext uri="{FF2B5EF4-FFF2-40B4-BE49-F238E27FC236}">
                  <a16:creationId xmlns:a16="http://schemas.microsoft.com/office/drawing/2014/main" id="{B83004D7-279B-C14E-9FCF-870FA1B74FDF}"/>
                </a:ext>
              </a:extLst>
            </p:cNvPr>
            <p:cNvSpPr/>
            <p:nvPr userDrawn="1"/>
          </p:nvSpPr>
          <p:spPr>
            <a:xfrm>
              <a:off x="6192274" y="4134866"/>
              <a:ext cx="791510" cy="664397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104" name="矩形 13">
              <a:extLst>
                <a:ext uri="{FF2B5EF4-FFF2-40B4-BE49-F238E27FC236}">
                  <a16:creationId xmlns:a16="http://schemas.microsoft.com/office/drawing/2014/main" id="{99635968-4E69-CC41-9D78-6DF253FE3035}"/>
                </a:ext>
              </a:extLst>
            </p:cNvPr>
            <p:cNvSpPr/>
            <p:nvPr userDrawn="1"/>
          </p:nvSpPr>
          <p:spPr>
            <a:xfrm>
              <a:off x="6192274" y="5596166"/>
              <a:ext cx="791510" cy="664397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105" name="矩形 13">
              <a:extLst>
                <a:ext uri="{FF2B5EF4-FFF2-40B4-BE49-F238E27FC236}">
                  <a16:creationId xmlns:a16="http://schemas.microsoft.com/office/drawing/2014/main" id="{BDBE4949-07B7-F046-AD95-68E4B0C11CCD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106" name="矩形 13">
              <a:extLst>
                <a:ext uri="{FF2B5EF4-FFF2-40B4-BE49-F238E27FC236}">
                  <a16:creationId xmlns:a16="http://schemas.microsoft.com/office/drawing/2014/main" id="{AA9F9E00-6A31-F14B-A2E4-79908835FD1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107" name="矩形 13">
              <a:extLst>
                <a:ext uri="{FF2B5EF4-FFF2-40B4-BE49-F238E27FC236}">
                  <a16:creationId xmlns:a16="http://schemas.microsoft.com/office/drawing/2014/main" id="{38715A31-485E-B744-B409-43F9F04B48F7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108" name="矩形 13">
              <a:extLst>
                <a:ext uri="{FF2B5EF4-FFF2-40B4-BE49-F238E27FC236}">
                  <a16:creationId xmlns:a16="http://schemas.microsoft.com/office/drawing/2014/main" id="{4AE1609B-25DD-2C4A-B05B-D18ADBC39C71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109" name="矩形 13">
              <a:extLst>
                <a:ext uri="{FF2B5EF4-FFF2-40B4-BE49-F238E27FC236}">
                  <a16:creationId xmlns:a16="http://schemas.microsoft.com/office/drawing/2014/main" id="{ECE90F9F-DBBC-0B49-A42C-8B62397E473E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0" name="矩形 13">
              <a:extLst>
                <a:ext uri="{FF2B5EF4-FFF2-40B4-BE49-F238E27FC236}">
                  <a16:creationId xmlns:a16="http://schemas.microsoft.com/office/drawing/2014/main" id="{D5B387BA-F8B8-B54E-966E-F24E271747C4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111" name="矩形 13">
              <a:extLst>
                <a:ext uri="{FF2B5EF4-FFF2-40B4-BE49-F238E27FC236}">
                  <a16:creationId xmlns:a16="http://schemas.microsoft.com/office/drawing/2014/main" id="{E6C9B99E-8C1C-2B49-B82E-3C754B8E5C02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112" name="矩形 13">
              <a:extLst>
                <a:ext uri="{FF2B5EF4-FFF2-40B4-BE49-F238E27FC236}">
                  <a16:creationId xmlns:a16="http://schemas.microsoft.com/office/drawing/2014/main" id="{0106BFA2-9DE1-3A42-A6C6-69BCE0FA34F4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113" name="矩形 13">
              <a:extLst>
                <a:ext uri="{FF2B5EF4-FFF2-40B4-BE49-F238E27FC236}">
                  <a16:creationId xmlns:a16="http://schemas.microsoft.com/office/drawing/2014/main" id="{F760C1C5-4342-C346-A7D2-D101978EDF66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114" name="矩形 13">
              <a:extLst>
                <a:ext uri="{FF2B5EF4-FFF2-40B4-BE49-F238E27FC236}">
                  <a16:creationId xmlns:a16="http://schemas.microsoft.com/office/drawing/2014/main" id="{5BB50A4A-0B64-7E4C-824C-1EBCA1A992CF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115" name="矩形 13">
              <a:extLst>
                <a:ext uri="{FF2B5EF4-FFF2-40B4-BE49-F238E27FC236}">
                  <a16:creationId xmlns:a16="http://schemas.microsoft.com/office/drawing/2014/main" id="{756A7E25-6C44-8A44-A8C5-61D19BC9EDAF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116" name="矩形 13">
              <a:extLst>
                <a:ext uri="{FF2B5EF4-FFF2-40B4-BE49-F238E27FC236}">
                  <a16:creationId xmlns:a16="http://schemas.microsoft.com/office/drawing/2014/main" id="{96588389-39CD-DF4E-B9AC-92091E25724E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117" name="矩形 13">
              <a:extLst>
                <a:ext uri="{FF2B5EF4-FFF2-40B4-BE49-F238E27FC236}">
                  <a16:creationId xmlns:a16="http://schemas.microsoft.com/office/drawing/2014/main" id="{20725C9F-31AE-DB44-B70A-B4ECDEC0BC00}"/>
                </a:ext>
              </a:extLst>
            </p:cNvPr>
            <p:cNvSpPr/>
            <p:nvPr/>
          </p:nvSpPr>
          <p:spPr>
            <a:xfrm>
              <a:off x="7806130" y="3415851"/>
              <a:ext cx="791510" cy="664397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8" name="矩形 13">
              <a:extLst>
                <a:ext uri="{FF2B5EF4-FFF2-40B4-BE49-F238E27FC236}">
                  <a16:creationId xmlns:a16="http://schemas.microsoft.com/office/drawing/2014/main" id="{AC5BCC27-B68D-0743-8E0B-E25F8D01C3A4}"/>
                </a:ext>
              </a:extLst>
            </p:cNvPr>
            <p:cNvSpPr/>
            <p:nvPr/>
          </p:nvSpPr>
          <p:spPr>
            <a:xfrm>
              <a:off x="7815961" y="4866463"/>
              <a:ext cx="791510" cy="664397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119" name="矩形 13">
              <a:extLst>
                <a:ext uri="{FF2B5EF4-FFF2-40B4-BE49-F238E27FC236}">
                  <a16:creationId xmlns:a16="http://schemas.microsoft.com/office/drawing/2014/main" id="{51C2E83A-C975-6945-B2FD-5B22BBB53DB7}"/>
                </a:ext>
              </a:extLst>
            </p:cNvPr>
            <p:cNvSpPr/>
            <p:nvPr/>
          </p:nvSpPr>
          <p:spPr>
            <a:xfrm>
              <a:off x="7813724" y="4134866"/>
              <a:ext cx="791510" cy="664397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120" name="矩形 13">
              <a:extLst>
                <a:ext uri="{FF2B5EF4-FFF2-40B4-BE49-F238E27FC236}">
                  <a16:creationId xmlns:a16="http://schemas.microsoft.com/office/drawing/2014/main" id="{BEE9A95F-6965-354F-A2C7-2E8C81DDA52F}"/>
                </a:ext>
              </a:extLst>
            </p:cNvPr>
            <p:cNvSpPr/>
            <p:nvPr/>
          </p:nvSpPr>
          <p:spPr>
            <a:xfrm>
              <a:off x="7813724" y="5596166"/>
              <a:ext cx="791510" cy="664397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190/23/238</a:t>
              </a:r>
            </a:p>
          </p:txBody>
        </p:sp>
        <p:sp>
          <p:nvSpPr>
            <p:cNvPr id="121" name="矩形 13">
              <a:extLst>
                <a:ext uri="{FF2B5EF4-FFF2-40B4-BE49-F238E27FC236}">
                  <a16:creationId xmlns:a16="http://schemas.microsoft.com/office/drawing/2014/main" id="{509164EB-3DC4-7A4F-9E7C-06EBC981CD0A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122" name="矩形 13">
              <a:extLst>
                <a:ext uri="{FF2B5EF4-FFF2-40B4-BE49-F238E27FC236}">
                  <a16:creationId xmlns:a16="http://schemas.microsoft.com/office/drawing/2014/main" id="{667867DD-D3E6-3040-A7B5-39345C0CE2E3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123" name="矩形 13">
              <a:extLst>
                <a:ext uri="{FF2B5EF4-FFF2-40B4-BE49-F238E27FC236}">
                  <a16:creationId xmlns:a16="http://schemas.microsoft.com/office/drawing/2014/main" id="{9EE10597-3782-AB46-8453-89FA049C6C46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35/24/21</a:t>
              </a:r>
            </a:p>
          </p:txBody>
        </p:sp>
        <p:sp>
          <p:nvSpPr>
            <p:cNvPr id="124" name="矩形 13">
              <a:extLst>
                <a:ext uri="{FF2B5EF4-FFF2-40B4-BE49-F238E27FC236}">
                  <a16:creationId xmlns:a16="http://schemas.microsoft.com/office/drawing/2014/main" id="{966B3529-B594-884C-BED0-5887B34BBBB8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125" name="矩形 13">
              <a:extLst>
                <a:ext uri="{FF2B5EF4-FFF2-40B4-BE49-F238E27FC236}">
                  <a16:creationId xmlns:a16="http://schemas.microsoft.com/office/drawing/2014/main" id="{0B0545C9-147F-584F-80D2-EF13876D7D33}"/>
                </a:ext>
              </a:extLst>
            </p:cNvPr>
            <p:cNvSpPr/>
            <p:nvPr userDrawn="1"/>
          </p:nvSpPr>
          <p:spPr>
            <a:xfrm>
              <a:off x="6450318" y="6324025"/>
              <a:ext cx="513579" cy="664397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126" name="矩形 13">
              <a:extLst>
                <a:ext uri="{FF2B5EF4-FFF2-40B4-BE49-F238E27FC236}">
                  <a16:creationId xmlns:a16="http://schemas.microsoft.com/office/drawing/2014/main" id="{44FD0A0B-0D45-3340-A523-465AC24134BF}"/>
                </a:ext>
              </a:extLst>
            </p:cNvPr>
            <p:cNvSpPr/>
            <p:nvPr userDrawn="1"/>
          </p:nvSpPr>
          <p:spPr>
            <a:xfrm>
              <a:off x="6998296" y="6324025"/>
              <a:ext cx="513579" cy="664397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127" name="矩形 13">
              <a:extLst>
                <a:ext uri="{FF2B5EF4-FFF2-40B4-BE49-F238E27FC236}">
                  <a16:creationId xmlns:a16="http://schemas.microsoft.com/office/drawing/2014/main" id="{2C404A07-276B-3648-BB25-4EDB5905448C}"/>
                </a:ext>
              </a:extLst>
            </p:cNvPr>
            <p:cNvSpPr/>
            <p:nvPr userDrawn="1"/>
          </p:nvSpPr>
          <p:spPr>
            <a:xfrm>
              <a:off x="7541580" y="6324025"/>
              <a:ext cx="513579" cy="664397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128" name="矩形 13">
              <a:extLst>
                <a:ext uri="{FF2B5EF4-FFF2-40B4-BE49-F238E27FC236}">
                  <a16:creationId xmlns:a16="http://schemas.microsoft.com/office/drawing/2014/main" id="{72B0F29C-A346-8946-9B8E-8F1B9DFF7AD0}"/>
                </a:ext>
              </a:extLst>
            </p:cNvPr>
            <p:cNvSpPr/>
            <p:nvPr userDrawn="1"/>
          </p:nvSpPr>
          <p:spPr>
            <a:xfrm>
              <a:off x="8083608" y="6324025"/>
              <a:ext cx="513579" cy="66439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</a:t>
              </a:r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  <p:sp>
        <p:nvSpPr>
          <p:cNvPr id="46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28543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Proprietary – Restricted Distribution</a:t>
            </a:r>
          </a:p>
        </p:txBody>
      </p:sp>
      <p:sp>
        <p:nvSpPr>
          <p:cNvPr id="48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61026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61" r:id="rId1"/>
    <p:sldLayoutId id="2147485662" r:id="rId2"/>
  </p:sldLayoutIdLst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1">
          <p15:clr>
            <a:srgbClr val="F26B43"/>
          </p15:clr>
        </p15:guide>
        <p15:guide id="2" pos="3842">
          <p15:clr>
            <a:srgbClr val="F26B43"/>
          </p15:clr>
        </p15:guide>
        <p15:guide id="3" pos="458">
          <p15:clr>
            <a:srgbClr val="F26B43"/>
          </p15:clr>
        </p15:guide>
        <p15:guide id="4" pos="7225">
          <p15:clr>
            <a:srgbClr val="F26B43"/>
          </p15:clr>
        </p15:guide>
        <p15:guide id="5" orient="horz" pos="4100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35039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zh-CN" sz="9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Proprietary - Restricted Distribution</a:t>
            </a:r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7333705-F8D6-2847-B3CB-F2FAB51E2A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0" y="2625389"/>
            <a:ext cx="1967973" cy="4233515"/>
            <a:chOff x="5343885" y="-48857"/>
            <a:chExt cx="3271316" cy="7037279"/>
          </a:xfrm>
        </p:grpSpPr>
        <p:sp>
          <p:nvSpPr>
            <p:cNvPr id="89" name="矩形 13">
              <a:extLst>
                <a:ext uri="{FF2B5EF4-FFF2-40B4-BE49-F238E27FC236}">
                  <a16:creationId xmlns:a16="http://schemas.microsoft.com/office/drawing/2014/main" id="{B14DFA89-D483-CF47-82CC-DD86D7CAB09E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90" name="文本框 15">
              <a:extLst>
                <a:ext uri="{FF2B5EF4-FFF2-40B4-BE49-F238E27FC236}">
                  <a16:creationId xmlns:a16="http://schemas.microsoft.com/office/drawing/2014/main" id="{8223ADA0-340A-794B-93B7-24AFF612A719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400"/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91" name="矩形 13">
              <a:extLst>
                <a:ext uri="{FF2B5EF4-FFF2-40B4-BE49-F238E27FC236}">
                  <a16:creationId xmlns:a16="http://schemas.microsoft.com/office/drawing/2014/main" id="{5F63E0E3-4F22-7948-AB1A-40A84ECA92EC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2" name="矩形 13">
              <a:extLst>
                <a:ext uri="{FF2B5EF4-FFF2-40B4-BE49-F238E27FC236}">
                  <a16:creationId xmlns:a16="http://schemas.microsoft.com/office/drawing/2014/main" id="{29C4A3C6-7C7B-7140-8F73-591E9F49143F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93" name="矩形 13">
              <a:extLst>
                <a:ext uri="{FF2B5EF4-FFF2-40B4-BE49-F238E27FC236}">
                  <a16:creationId xmlns:a16="http://schemas.microsoft.com/office/drawing/2014/main" id="{BE4C9A8D-46B0-5B40-BC47-DB6C4899227F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94" name="矩形 13">
              <a:extLst>
                <a:ext uri="{FF2B5EF4-FFF2-40B4-BE49-F238E27FC236}">
                  <a16:creationId xmlns:a16="http://schemas.microsoft.com/office/drawing/2014/main" id="{612F2ED4-F7A4-9E48-95E1-8D07B3BBE962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95" name="矩形 13">
              <a:extLst>
                <a:ext uri="{FF2B5EF4-FFF2-40B4-BE49-F238E27FC236}">
                  <a16:creationId xmlns:a16="http://schemas.microsoft.com/office/drawing/2014/main" id="{A9E1D476-C288-8945-A68A-1F20C557294B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6" name="矩形 13">
              <a:extLst>
                <a:ext uri="{FF2B5EF4-FFF2-40B4-BE49-F238E27FC236}">
                  <a16:creationId xmlns:a16="http://schemas.microsoft.com/office/drawing/2014/main" id="{42823EBB-E62E-F149-AC9A-09950051F283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5C</a:t>
              </a: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97" name="文本框 15">
              <a:extLst>
                <a:ext uri="{FF2B5EF4-FFF2-40B4-BE49-F238E27FC236}">
                  <a16:creationId xmlns:a16="http://schemas.microsoft.com/office/drawing/2014/main" id="{EA01C299-6FF2-3642-AAEC-A1DF62D9C654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400"/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98" name="矩形 13">
              <a:extLst>
                <a:ext uri="{FF2B5EF4-FFF2-40B4-BE49-F238E27FC236}">
                  <a16:creationId xmlns:a16="http://schemas.microsoft.com/office/drawing/2014/main" id="{B84AB502-165F-764A-9621-65CA8CBBEAEA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6C</a:t>
              </a: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99" name="矩形 13">
              <a:extLst>
                <a:ext uri="{FF2B5EF4-FFF2-40B4-BE49-F238E27FC236}">
                  <a16:creationId xmlns:a16="http://schemas.microsoft.com/office/drawing/2014/main" id="{CB8870E8-3E95-764C-B621-A168E194CC7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00" name="矩形 13">
              <a:extLst>
                <a:ext uri="{FF2B5EF4-FFF2-40B4-BE49-F238E27FC236}">
                  <a16:creationId xmlns:a16="http://schemas.microsoft.com/office/drawing/2014/main" id="{356EF69A-1936-544F-A95F-0664F4E186D5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01" name="矩形 13">
              <a:extLst>
                <a:ext uri="{FF2B5EF4-FFF2-40B4-BE49-F238E27FC236}">
                  <a16:creationId xmlns:a16="http://schemas.microsoft.com/office/drawing/2014/main" id="{03EBAB43-95A5-1C4A-8458-B86EB3D51FCA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02" name="矩形 13">
              <a:extLst>
                <a:ext uri="{FF2B5EF4-FFF2-40B4-BE49-F238E27FC236}">
                  <a16:creationId xmlns:a16="http://schemas.microsoft.com/office/drawing/2014/main" id="{371A8520-F934-304C-B57F-B49F768694E2}"/>
                </a:ext>
              </a:extLst>
            </p:cNvPr>
            <p:cNvSpPr/>
            <p:nvPr userDrawn="1"/>
          </p:nvSpPr>
          <p:spPr>
            <a:xfrm>
              <a:off x="6184543" y="4866463"/>
              <a:ext cx="791510" cy="664398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103" name="矩形 13">
              <a:extLst>
                <a:ext uri="{FF2B5EF4-FFF2-40B4-BE49-F238E27FC236}">
                  <a16:creationId xmlns:a16="http://schemas.microsoft.com/office/drawing/2014/main" id="{B83004D7-279B-C14E-9FCF-870FA1B74FDF}"/>
                </a:ext>
              </a:extLst>
            </p:cNvPr>
            <p:cNvSpPr/>
            <p:nvPr userDrawn="1"/>
          </p:nvSpPr>
          <p:spPr>
            <a:xfrm>
              <a:off x="6182308" y="4134866"/>
              <a:ext cx="791510" cy="664398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104" name="矩形 13">
              <a:extLst>
                <a:ext uri="{FF2B5EF4-FFF2-40B4-BE49-F238E27FC236}">
                  <a16:creationId xmlns:a16="http://schemas.microsoft.com/office/drawing/2014/main" id="{99635968-4E69-CC41-9D78-6DF253FE3035}"/>
                </a:ext>
              </a:extLst>
            </p:cNvPr>
            <p:cNvSpPr/>
            <p:nvPr userDrawn="1"/>
          </p:nvSpPr>
          <p:spPr>
            <a:xfrm>
              <a:off x="6177324" y="5596166"/>
              <a:ext cx="791510" cy="664398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105" name="矩形 13">
              <a:extLst>
                <a:ext uri="{FF2B5EF4-FFF2-40B4-BE49-F238E27FC236}">
                  <a16:creationId xmlns:a16="http://schemas.microsoft.com/office/drawing/2014/main" id="{BDBE4949-07B7-F046-AD95-68E4B0C11CCD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106" name="矩形 13">
              <a:extLst>
                <a:ext uri="{FF2B5EF4-FFF2-40B4-BE49-F238E27FC236}">
                  <a16:creationId xmlns:a16="http://schemas.microsoft.com/office/drawing/2014/main" id="{AA9F9E00-6A31-F14B-A2E4-79908835FD1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107" name="矩形 13">
              <a:extLst>
                <a:ext uri="{FF2B5EF4-FFF2-40B4-BE49-F238E27FC236}">
                  <a16:creationId xmlns:a16="http://schemas.microsoft.com/office/drawing/2014/main" id="{38715A31-485E-B744-B409-43F9F04B48F7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108" name="矩形 13">
              <a:extLst>
                <a:ext uri="{FF2B5EF4-FFF2-40B4-BE49-F238E27FC236}">
                  <a16:creationId xmlns:a16="http://schemas.microsoft.com/office/drawing/2014/main" id="{4AE1609B-25DD-2C4A-B05B-D18ADBC39C71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109" name="矩形 13">
              <a:extLst>
                <a:ext uri="{FF2B5EF4-FFF2-40B4-BE49-F238E27FC236}">
                  <a16:creationId xmlns:a16="http://schemas.microsoft.com/office/drawing/2014/main" id="{ECE90F9F-DBBC-0B49-A42C-8B62397E473E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0" name="矩形 13">
              <a:extLst>
                <a:ext uri="{FF2B5EF4-FFF2-40B4-BE49-F238E27FC236}">
                  <a16:creationId xmlns:a16="http://schemas.microsoft.com/office/drawing/2014/main" id="{D5B387BA-F8B8-B54E-966E-F24E271747C4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111" name="矩形 13">
              <a:extLst>
                <a:ext uri="{FF2B5EF4-FFF2-40B4-BE49-F238E27FC236}">
                  <a16:creationId xmlns:a16="http://schemas.microsoft.com/office/drawing/2014/main" id="{E6C9B99E-8C1C-2B49-B82E-3C754B8E5C02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112" name="矩形 13">
              <a:extLst>
                <a:ext uri="{FF2B5EF4-FFF2-40B4-BE49-F238E27FC236}">
                  <a16:creationId xmlns:a16="http://schemas.microsoft.com/office/drawing/2014/main" id="{0106BFA2-9DE1-3A42-A6C6-69BCE0FA34F4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113" name="矩形 13">
              <a:extLst>
                <a:ext uri="{FF2B5EF4-FFF2-40B4-BE49-F238E27FC236}">
                  <a16:creationId xmlns:a16="http://schemas.microsoft.com/office/drawing/2014/main" id="{F760C1C5-4342-C346-A7D2-D101978EDF66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114" name="矩形 13">
              <a:extLst>
                <a:ext uri="{FF2B5EF4-FFF2-40B4-BE49-F238E27FC236}">
                  <a16:creationId xmlns:a16="http://schemas.microsoft.com/office/drawing/2014/main" id="{5BB50A4A-0B64-7E4C-824C-1EBCA1A992CF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115" name="矩形 13">
              <a:extLst>
                <a:ext uri="{FF2B5EF4-FFF2-40B4-BE49-F238E27FC236}">
                  <a16:creationId xmlns:a16="http://schemas.microsoft.com/office/drawing/2014/main" id="{756A7E25-6C44-8A44-A8C5-61D19BC9EDAF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116" name="矩形 13">
              <a:extLst>
                <a:ext uri="{FF2B5EF4-FFF2-40B4-BE49-F238E27FC236}">
                  <a16:creationId xmlns:a16="http://schemas.microsoft.com/office/drawing/2014/main" id="{96588389-39CD-DF4E-B9AC-92091E25724E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117" name="矩形 13">
              <a:extLst>
                <a:ext uri="{FF2B5EF4-FFF2-40B4-BE49-F238E27FC236}">
                  <a16:creationId xmlns:a16="http://schemas.microsoft.com/office/drawing/2014/main" id="{20725C9F-31AE-DB44-B70A-B4ECDEC0BC00}"/>
                </a:ext>
              </a:extLst>
            </p:cNvPr>
            <p:cNvSpPr/>
            <p:nvPr/>
          </p:nvSpPr>
          <p:spPr>
            <a:xfrm>
              <a:off x="7811114" y="3415851"/>
              <a:ext cx="791510" cy="664398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8" name="矩形 13">
              <a:extLst>
                <a:ext uri="{FF2B5EF4-FFF2-40B4-BE49-F238E27FC236}">
                  <a16:creationId xmlns:a16="http://schemas.microsoft.com/office/drawing/2014/main" id="{AC5BCC27-B68D-0743-8E0B-E25F8D01C3A4}"/>
                </a:ext>
              </a:extLst>
            </p:cNvPr>
            <p:cNvSpPr/>
            <p:nvPr/>
          </p:nvSpPr>
          <p:spPr>
            <a:xfrm>
              <a:off x="7820945" y="4866463"/>
              <a:ext cx="791510" cy="664398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119" name="矩形 13">
              <a:extLst>
                <a:ext uri="{FF2B5EF4-FFF2-40B4-BE49-F238E27FC236}">
                  <a16:creationId xmlns:a16="http://schemas.microsoft.com/office/drawing/2014/main" id="{51C2E83A-C975-6945-B2FD-5B22BBB53DB7}"/>
                </a:ext>
              </a:extLst>
            </p:cNvPr>
            <p:cNvSpPr/>
            <p:nvPr/>
          </p:nvSpPr>
          <p:spPr>
            <a:xfrm>
              <a:off x="7818707" y="4134866"/>
              <a:ext cx="791510" cy="664398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120" name="矩形 13">
              <a:extLst>
                <a:ext uri="{FF2B5EF4-FFF2-40B4-BE49-F238E27FC236}">
                  <a16:creationId xmlns:a16="http://schemas.microsoft.com/office/drawing/2014/main" id="{BEE9A95F-6965-354F-A2C7-2E8C81DDA52F}"/>
                </a:ext>
              </a:extLst>
            </p:cNvPr>
            <p:cNvSpPr/>
            <p:nvPr/>
          </p:nvSpPr>
          <p:spPr>
            <a:xfrm>
              <a:off x="7823691" y="5596166"/>
              <a:ext cx="791510" cy="664398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190/233/238</a:t>
              </a:r>
            </a:p>
          </p:txBody>
        </p:sp>
        <p:sp>
          <p:nvSpPr>
            <p:cNvPr id="121" name="矩形 13">
              <a:extLst>
                <a:ext uri="{FF2B5EF4-FFF2-40B4-BE49-F238E27FC236}">
                  <a16:creationId xmlns:a16="http://schemas.microsoft.com/office/drawing/2014/main" id="{509164EB-3DC4-7A4F-9E7C-06EBC981CD0A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122" name="矩形 13">
              <a:extLst>
                <a:ext uri="{FF2B5EF4-FFF2-40B4-BE49-F238E27FC236}">
                  <a16:creationId xmlns:a16="http://schemas.microsoft.com/office/drawing/2014/main" id="{667867DD-D3E6-3040-A7B5-39345C0CE2E3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123" name="矩形 13">
              <a:extLst>
                <a:ext uri="{FF2B5EF4-FFF2-40B4-BE49-F238E27FC236}">
                  <a16:creationId xmlns:a16="http://schemas.microsoft.com/office/drawing/2014/main" id="{9EE10597-3782-AB46-8453-89FA049C6C46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0/0/0</a:t>
              </a:r>
            </a:p>
          </p:txBody>
        </p:sp>
        <p:sp>
          <p:nvSpPr>
            <p:cNvPr id="124" name="矩形 13">
              <a:extLst>
                <a:ext uri="{FF2B5EF4-FFF2-40B4-BE49-F238E27FC236}">
                  <a16:creationId xmlns:a16="http://schemas.microsoft.com/office/drawing/2014/main" id="{966B3529-B594-884C-BED0-5887B34BBBB8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125" name="矩形 13">
              <a:extLst>
                <a:ext uri="{FF2B5EF4-FFF2-40B4-BE49-F238E27FC236}">
                  <a16:creationId xmlns:a16="http://schemas.microsoft.com/office/drawing/2014/main" id="{0B0545C9-147F-584F-80D2-EF13876D7D33}"/>
                </a:ext>
              </a:extLst>
            </p:cNvPr>
            <p:cNvSpPr/>
            <p:nvPr userDrawn="1"/>
          </p:nvSpPr>
          <p:spPr>
            <a:xfrm>
              <a:off x="6445335" y="6324024"/>
              <a:ext cx="513579" cy="664398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126" name="矩形 13">
              <a:extLst>
                <a:ext uri="{FF2B5EF4-FFF2-40B4-BE49-F238E27FC236}">
                  <a16:creationId xmlns:a16="http://schemas.microsoft.com/office/drawing/2014/main" id="{44FD0A0B-0D45-3340-A523-465AC24134BF}"/>
                </a:ext>
              </a:extLst>
            </p:cNvPr>
            <p:cNvSpPr/>
            <p:nvPr userDrawn="1"/>
          </p:nvSpPr>
          <p:spPr>
            <a:xfrm>
              <a:off x="7003279" y="6324024"/>
              <a:ext cx="513579" cy="664398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127" name="矩形 13">
              <a:extLst>
                <a:ext uri="{FF2B5EF4-FFF2-40B4-BE49-F238E27FC236}">
                  <a16:creationId xmlns:a16="http://schemas.microsoft.com/office/drawing/2014/main" id="{2C404A07-276B-3648-BB25-4EDB5905448C}"/>
                </a:ext>
              </a:extLst>
            </p:cNvPr>
            <p:cNvSpPr/>
            <p:nvPr userDrawn="1"/>
          </p:nvSpPr>
          <p:spPr>
            <a:xfrm>
              <a:off x="7551547" y="6324024"/>
              <a:ext cx="513579" cy="664398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128" name="矩形 13">
              <a:extLst>
                <a:ext uri="{FF2B5EF4-FFF2-40B4-BE49-F238E27FC236}">
                  <a16:creationId xmlns:a16="http://schemas.microsoft.com/office/drawing/2014/main" id="{72B0F29C-A346-8946-9B8E-8F1B9DFF7AD0}"/>
                </a:ext>
              </a:extLst>
            </p:cNvPr>
            <p:cNvSpPr/>
            <p:nvPr userDrawn="1"/>
          </p:nvSpPr>
          <p:spPr>
            <a:xfrm>
              <a:off x="8098559" y="6324024"/>
              <a:ext cx="513579" cy="66439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</a:t>
              </a:r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796867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图片 45">
            <a:extLst>
              <a:ext uri="{FF2B5EF4-FFF2-40B4-BE49-F238E27FC236}">
                <a16:creationId xmlns:a16="http://schemas.microsoft.com/office/drawing/2014/main" id="{5DA56BEE-DFA7-442F-9C20-57FEE64A873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11" y="0"/>
            <a:ext cx="12191140" cy="6858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28543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1D1D1B"/>
                </a:solidFill>
                <a:cs typeface="Arial" panose="020B0604020202020204" pitchFamily="34" charset="0"/>
              </a:rPr>
              <a:t>Huawei Proprietary – Restricted Distribu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cs typeface="Arial" panose="020B0604020202020204" pitchFamily="34" charset="0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  <p:grpSp>
        <p:nvGrpSpPr>
          <p:cNvPr id="5" name="Group 87">
            <a:extLst>
              <a:ext uri="{FF2B5EF4-FFF2-40B4-BE49-F238E27FC236}">
                <a16:creationId xmlns:a16="http://schemas.microsoft.com/office/drawing/2014/main" id="{CBB91E99-E194-4FBA-98E8-C8C541AFAD7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0" y="2625389"/>
            <a:ext cx="1967973" cy="4233515"/>
            <a:chOff x="5343885" y="-48857"/>
            <a:chExt cx="3271316" cy="7037279"/>
          </a:xfrm>
        </p:grpSpPr>
        <p:sp>
          <p:nvSpPr>
            <p:cNvPr id="6" name="矩形 13">
              <a:extLst>
                <a:ext uri="{FF2B5EF4-FFF2-40B4-BE49-F238E27FC236}">
                  <a16:creationId xmlns:a16="http://schemas.microsoft.com/office/drawing/2014/main" id="{87062D29-4B3D-43C6-B2F4-87266745F218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7" name="文本框 15">
              <a:extLst>
                <a:ext uri="{FF2B5EF4-FFF2-40B4-BE49-F238E27FC236}">
                  <a16:creationId xmlns:a16="http://schemas.microsoft.com/office/drawing/2014/main" id="{CF04794B-0451-4AF0-8B15-8E5F7B62486B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8" name="矩形 13">
              <a:extLst>
                <a:ext uri="{FF2B5EF4-FFF2-40B4-BE49-F238E27FC236}">
                  <a16:creationId xmlns:a16="http://schemas.microsoft.com/office/drawing/2014/main" id="{0DBE7A85-19E5-4416-A13E-6FDDFBF0D93F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" name="矩形 13">
              <a:extLst>
                <a:ext uri="{FF2B5EF4-FFF2-40B4-BE49-F238E27FC236}">
                  <a16:creationId xmlns:a16="http://schemas.microsoft.com/office/drawing/2014/main" id="{D0D35BE3-9F1D-49FC-BF5E-47C6902D7165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10" name="矩形 13">
              <a:extLst>
                <a:ext uri="{FF2B5EF4-FFF2-40B4-BE49-F238E27FC236}">
                  <a16:creationId xmlns:a16="http://schemas.microsoft.com/office/drawing/2014/main" id="{A556DFAA-1C6B-4B48-AC0A-CF59626865DB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11" name="矩形 13">
              <a:extLst>
                <a:ext uri="{FF2B5EF4-FFF2-40B4-BE49-F238E27FC236}">
                  <a16:creationId xmlns:a16="http://schemas.microsoft.com/office/drawing/2014/main" id="{425D8B17-2E6F-4DA0-98F8-4FA5B19A7F99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12" name="矩形 13">
              <a:extLst>
                <a:ext uri="{FF2B5EF4-FFF2-40B4-BE49-F238E27FC236}">
                  <a16:creationId xmlns:a16="http://schemas.microsoft.com/office/drawing/2014/main" id="{18E165AF-76C3-4826-9D25-C14CD69C9C28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13" name="矩形 13">
              <a:extLst>
                <a:ext uri="{FF2B5EF4-FFF2-40B4-BE49-F238E27FC236}">
                  <a16:creationId xmlns:a16="http://schemas.microsoft.com/office/drawing/2014/main" id="{7402DD78-561C-4E4A-9131-56F32E913BA0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5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14" name="文本框 15">
              <a:extLst>
                <a:ext uri="{FF2B5EF4-FFF2-40B4-BE49-F238E27FC236}">
                  <a16:creationId xmlns:a16="http://schemas.microsoft.com/office/drawing/2014/main" id="{7BE7850B-DB89-4939-8B9F-08E87A592B05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15" name="矩形 13">
              <a:extLst>
                <a:ext uri="{FF2B5EF4-FFF2-40B4-BE49-F238E27FC236}">
                  <a16:creationId xmlns:a16="http://schemas.microsoft.com/office/drawing/2014/main" id="{4821ECEB-5DCD-4780-8BA6-E48654F5DB65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6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16" name="矩形 13">
              <a:extLst>
                <a:ext uri="{FF2B5EF4-FFF2-40B4-BE49-F238E27FC236}">
                  <a16:creationId xmlns:a16="http://schemas.microsoft.com/office/drawing/2014/main" id="{648D93AC-ED6F-4DF5-A58B-A8DB369F7E3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7" name="矩形 13">
              <a:extLst>
                <a:ext uri="{FF2B5EF4-FFF2-40B4-BE49-F238E27FC236}">
                  <a16:creationId xmlns:a16="http://schemas.microsoft.com/office/drawing/2014/main" id="{E3E6EC3D-1867-4ECC-9F16-D29D3271CF3A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8" name="矩形 13">
              <a:extLst>
                <a:ext uri="{FF2B5EF4-FFF2-40B4-BE49-F238E27FC236}">
                  <a16:creationId xmlns:a16="http://schemas.microsoft.com/office/drawing/2014/main" id="{F5E34584-5D8D-4E4C-8F52-24B9319EC2F4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9" name="矩形 13">
              <a:extLst>
                <a:ext uri="{FF2B5EF4-FFF2-40B4-BE49-F238E27FC236}">
                  <a16:creationId xmlns:a16="http://schemas.microsoft.com/office/drawing/2014/main" id="{861F380C-7EE2-4915-A1B4-2DEC2F665DCD}"/>
                </a:ext>
              </a:extLst>
            </p:cNvPr>
            <p:cNvSpPr/>
            <p:nvPr userDrawn="1"/>
          </p:nvSpPr>
          <p:spPr>
            <a:xfrm>
              <a:off x="6184543" y="4866463"/>
              <a:ext cx="791510" cy="664398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20" name="矩形 13">
              <a:extLst>
                <a:ext uri="{FF2B5EF4-FFF2-40B4-BE49-F238E27FC236}">
                  <a16:creationId xmlns:a16="http://schemas.microsoft.com/office/drawing/2014/main" id="{FB920400-BC53-45C0-8624-91B8E82BC5D2}"/>
                </a:ext>
              </a:extLst>
            </p:cNvPr>
            <p:cNvSpPr/>
            <p:nvPr userDrawn="1"/>
          </p:nvSpPr>
          <p:spPr>
            <a:xfrm>
              <a:off x="6182308" y="4134866"/>
              <a:ext cx="791510" cy="664398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21" name="矩形 13">
              <a:extLst>
                <a:ext uri="{FF2B5EF4-FFF2-40B4-BE49-F238E27FC236}">
                  <a16:creationId xmlns:a16="http://schemas.microsoft.com/office/drawing/2014/main" id="{31078EDC-4A9F-43A4-9BA9-907569D85C92}"/>
                </a:ext>
              </a:extLst>
            </p:cNvPr>
            <p:cNvSpPr/>
            <p:nvPr userDrawn="1"/>
          </p:nvSpPr>
          <p:spPr>
            <a:xfrm>
              <a:off x="6177324" y="5596166"/>
              <a:ext cx="791510" cy="664398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22" name="矩形 13">
              <a:extLst>
                <a:ext uri="{FF2B5EF4-FFF2-40B4-BE49-F238E27FC236}">
                  <a16:creationId xmlns:a16="http://schemas.microsoft.com/office/drawing/2014/main" id="{BF5ECD26-9AAC-4B7D-B7B9-5D3E0A2E9DA4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23" name="矩形 13">
              <a:extLst>
                <a:ext uri="{FF2B5EF4-FFF2-40B4-BE49-F238E27FC236}">
                  <a16:creationId xmlns:a16="http://schemas.microsoft.com/office/drawing/2014/main" id="{9D857771-ACBB-41B6-8066-2ED34322E55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24" name="矩形 13">
              <a:extLst>
                <a:ext uri="{FF2B5EF4-FFF2-40B4-BE49-F238E27FC236}">
                  <a16:creationId xmlns:a16="http://schemas.microsoft.com/office/drawing/2014/main" id="{E5C2B2E4-7360-4919-AFF0-3278A14D20A3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25" name="矩形 13">
              <a:extLst>
                <a:ext uri="{FF2B5EF4-FFF2-40B4-BE49-F238E27FC236}">
                  <a16:creationId xmlns:a16="http://schemas.microsoft.com/office/drawing/2014/main" id="{205FF6C6-9AD5-4A14-97CD-DCA40CA434F5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26" name="矩形 13">
              <a:extLst>
                <a:ext uri="{FF2B5EF4-FFF2-40B4-BE49-F238E27FC236}">
                  <a16:creationId xmlns:a16="http://schemas.microsoft.com/office/drawing/2014/main" id="{569590BE-ACA3-4165-A3C8-EF0EC6DE1F37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27" name="矩形 13">
              <a:extLst>
                <a:ext uri="{FF2B5EF4-FFF2-40B4-BE49-F238E27FC236}">
                  <a16:creationId xmlns:a16="http://schemas.microsoft.com/office/drawing/2014/main" id="{A948AC6C-3900-47EE-9D2B-DAAC34E5977E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28" name="矩形 13">
              <a:extLst>
                <a:ext uri="{FF2B5EF4-FFF2-40B4-BE49-F238E27FC236}">
                  <a16:creationId xmlns:a16="http://schemas.microsoft.com/office/drawing/2014/main" id="{00E044ED-DB0C-4B5B-AA77-2ED06094E771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29" name="矩形 13">
              <a:extLst>
                <a:ext uri="{FF2B5EF4-FFF2-40B4-BE49-F238E27FC236}">
                  <a16:creationId xmlns:a16="http://schemas.microsoft.com/office/drawing/2014/main" id="{AF4BCC50-7A8D-4CF9-9D32-45E989EE069A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30" name="矩形 13">
              <a:extLst>
                <a:ext uri="{FF2B5EF4-FFF2-40B4-BE49-F238E27FC236}">
                  <a16:creationId xmlns:a16="http://schemas.microsoft.com/office/drawing/2014/main" id="{CE13758F-40BE-46B4-B658-12AE1F130F54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31" name="矩形 13">
              <a:extLst>
                <a:ext uri="{FF2B5EF4-FFF2-40B4-BE49-F238E27FC236}">
                  <a16:creationId xmlns:a16="http://schemas.microsoft.com/office/drawing/2014/main" id="{0F7F976C-16D5-4D99-9DA3-F8F819C590B4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32" name="矩形 13">
              <a:extLst>
                <a:ext uri="{FF2B5EF4-FFF2-40B4-BE49-F238E27FC236}">
                  <a16:creationId xmlns:a16="http://schemas.microsoft.com/office/drawing/2014/main" id="{4EC6DA09-C57C-4765-A960-35241AA4D022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33" name="矩形 13">
              <a:extLst>
                <a:ext uri="{FF2B5EF4-FFF2-40B4-BE49-F238E27FC236}">
                  <a16:creationId xmlns:a16="http://schemas.microsoft.com/office/drawing/2014/main" id="{3736C081-FFDA-43EE-911D-ED4CF1851E34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34" name="矩形 13">
              <a:extLst>
                <a:ext uri="{FF2B5EF4-FFF2-40B4-BE49-F238E27FC236}">
                  <a16:creationId xmlns:a16="http://schemas.microsoft.com/office/drawing/2014/main" id="{D7DD5600-BA67-4684-B31D-5D51E301D21F}"/>
                </a:ext>
              </a:extLst>
            </p:cNvPr>
            <p:cNvSpPr/>
            <p:nvPr/>
          </p:nvSpPr>
          <p:spPr>
            <a:xfrm>
              <a:off x="7811114" y="3415851"/>
              <a:ext cx="791510" cy="664398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35" name="矩形 13">
              <a:extLst>
                <a:ext uri="{FF2B5EF4-FFF2-40B4-BE49-F238E27FC236}">
                  <a16:creationId xmlns:a16="http://schemas.microsoft.com/office/drawing/2014/main" id="{BC3B5A4E-6C32-4D05-AF55-90FF1B2229EE}"/>
                </a:ext>
              </a:extLst>
            </p:cNvPr>
            <p:cNvSpPr/>
            <p:nvPr/>
          </p:nvSpPr>
          <p:spPr>
            <a:xfrm>
              <a:off x="7820945" y="4866463"/>
              <a:ext cx="791510" cy="664398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36" name="矩形 13">
              <a:extLst>
                <a:ext uri="{FF2B5EF4-FFF2-40B4-BE49-F238E27FC236}">
                  <a16:creationId xmlns:a16="http://schemas.microsoft.com/office/drawing/2014/main" id="{F88EA78A-8884-4B54-B1DC-FEF751661CA0}"/>
                </a:ext>
              </a:extLst>
            </p:cNvPr>
            <p:cNvSpPr/>
            <p:nvPr/>
          </p:nvSpPr>
          <p:spPr>
            <a:xfrm>
              <a:off x="7818707" y="4134866"/>
              <a:ext cx="791510" cy="664398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37" name="矩形 13">
              <a:extLst>
                <a:ext uri="{FF2B5EF4-FFF2-40B4-BE49-F238E27FC236}">
                  <a16:creationId xmlns:a16="http://schemas.microsoft.com/office/drawing/2014/main" id="{30D76234-18BB-4226-91F3-496541FDB173}"/>
                </a:ext>
              </a:extLst>
            </p:cNvPr>
            <p:cNvSpPr/>
            <p:nvPr/>
          </p:nvSpPr>
          <p:spPr>
            <a:xfrm>
              <a:off x="7823691" y="5596166"/>
              <a:ext cx="791510" cy="664398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190/233/238</a:t>
              </a:r>
            </a:p>
          </p:txBody>
        </p:sp>
        <p:sp>
          <p:nvSpPr>
            <p:cNvPr id="38" name="矩形 13">
              <a:extLst>
                <a:ext uri="{FF2B5EF4-FFF2-40B4-BE49-F238E27FC236}">
                  <a16:creationId xmlns:a16="http://schemas.microsoft.com/office/drawing/2014/main" id="{742E2780-BD5E-413B-9BE8-96DFFF8B5649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39" name="矩形 13">
              <a:extLst>
                <a:ext uri="{FF2B5EF4-FFF2-40B4-BE49-F238E27FC236}">
                  <a16:creationId xmlns:a16="http://schemas.microsoft.com/office/drawing/2014/main" id="{89CF25F0-ACC6-4FC4-948A-BCE4A802FD25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40" name="矩形 13">
              <a:extLst>
                <a:ext uri="{FF2B5EF4-FFF2-40B4-BE49-F238E27FC236}">
                  <a16:creationId xmlns:a16="http://schemas.microsoft.com/office/drawing/2014/main" id="{8D2EF9D5-EBCD-490B-B8B9-645C824F91AD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0/0/0</a:t>
              </a:r>
            </a:p>
          </p:txBody>
        </p:sp>
        <p:sp>
          <p:nvSpPr>
            <p:cNvPr id="41" name="矩形 13">
              <a:extLst>
                <a:ext uri="{FF2B5EF4-FFF2-40B4-BE49-F238E27FC236}">
                  <a16:creationId xmlns:a16="http://schemas.microsoft.com/office/drawing/2014/main" id="{0286ECB3-922D-48DD-AFE7-9C6E9060C6F2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42" name="矩形 13">
              <a:extLst>
                <a:ext uri="{FF2B5EF4-FFF2-40B4-BE49-F238E27FC236}">
                  <a16:creationId xmlns:a16="http://schemas.microsoft.com/office/drawing/2014/main" id="{26843338-C6AE-4E98-95C9-EA160CC2B30A}"/>
                </a:ext>
              </a:extLst>
            </p:cNvPr>
            <p:cNvSpPr/>
            <p:nvPr userDrawn="1"/>
          </p:nvSpPr>
          <p:spPr>
            <a:xfrm>
              <a:off x="6445335" y="6324024"/>
              <a:ext cx="513579" cy="664398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43" name="矩形 13">
              <a:extLst>
                <a:ext uri="{FF2B5EF4-FFF2-40B4-BE49-F238E27FC236}">
                  <a16:creationId xmlns:a16="http://schemas.microsoft.com/office/drawing/2014/main" id="{F41285F2-C98F-44DF-810D-AFDA8C2F7252}"/>
                </a:ext>
              </a:extLst>
            </p:cNvPr>
            <p:cNvSpPr/>
            <p:nvPr userDrawn="1"/>
          </p:nvSpPr>
          <p:spPr>
            <a:xfrm>
              <a:off x="7003279" y="6324024"/>
              <a:ext cx="513579" cy="664398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44" name="矩形 13">
              <a:extLst>
                <a:ext uri="{FF2B5EF4-FFF2-40B4-BE49-F238E27FC236}">
                  <a16:creationId xmlns:a16="http://schemas.microsoft.com/office/drawing/2014/main" id="{316800BF-7174-4B63-B993-7FF3F38E786A}"/>
                </a:ext>
              </a:extLst>
            </p:cNvPr>
            <p:cNvSpPr/>
            <p:nvPr userDrawn="1"/>
          </p:nvSpPr>
          <p:spPr>
            <a:xfrm>
              <a:off x="7551547" y="6324024"/>
              <a:ext cx="513579" cy="664398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45" name="矩形 13">
              <a:extLst>
                <a:ext uri="{FF2B5EF4-FFF2-40B4-BE49-F238E27FC236}">
                  <a16:creationId xmlns:a16="http://schemas.microsoft.com/office/drawing/2014/main" id="{E3AFA688-A359-4262-BC4E-961D2F75A295}"/>
                </a:ext>
              </a:extLst>
            </p:cNvPr>
            <p:cNvSpPr/>
            <p:nvPr userDrawn="1"/>
          </p:nvSpPr>
          <p:spPr>
            <a:xfrm>
              <a:off x="8098559" y="6324024"/>
              <a:ext cx="513579" cy="66439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5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7900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68" r:id="rId1"/>
  </p:sldLayoutIdLst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62">
          <p15:clr>
            <a:srgbClr val="F26B43"/>
          </p15:clr>
        </p15:guide>
        <p15:guide id="2" pos="7216">
          <p15:clr>
            <a:srgbClr val="F26B43"/>
          </p15:clr>
        </p15:guide>
        <p15:guide id="3" orient="horz" pos="550">
          <p15:clr>
            <a:srgbClr val="F26B43"/>
          </p15:clr>
        </p15:guide>
        <p15:guide id="4" orient="horz" pos="731">
          <p15:clr>
            <a:srgbClr val="F26B43"/>
          </p15:clr>
        </p15:guide>
        <p15:guide id="5" orient="horz" pos="3974">
          <p15:clr>
            <a:srgbClr val="F26B43"/>
          </p15:clr>
        </p15:guide>
        <p15:guide id="6" orient="horz" pos="3816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图片 45">
            <a:extLst>
              <a:ext uri="{FF2B5EF4-FFF2-40B4-BE49-F238E27FC236}">
                <a16:creationId xmlns:a16="http://schemas.microsoft.com/office/drawing/2014/main" id="{5DA56BEE-DFA7-442F-9C20-57FEE64A873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11" y="0"/>
            <a:ext cx="12191140" cy="6858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28543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1D1D1B"/>
                </a:solidFill>
                <a:cs typeface="Arial" panose="020B0604020202020204" pitchFamily="34" charset="0"/>
              </a:rPr>
              <a:t>Huawei Proprietary – Restricted Distribu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cs typeface="Arial" panose="020B0604020202020204" pitchFamily="34" charset="0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  <p:grpSp>
        <p:nvGrpSpPr>
          <p:cNvPr id="5" name="Group 87">
            <a:extLst>
              <a:ext uri="{FF2B5EF4-FFF2-40B4-BE49-F238E27FC236}">
                <a16:creationId xmlns:a16="http://schemas.microsoft.com/office/drawing/2014/main" id="{CBB91E99-E194-4FBA-98E8-C8C541AFAD7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0" y="2625389"/>
            <a:ext cx="1967973" cy="4233515"/>
            <a:chOff x="5343885" y="-48857"/>
            <a:chExt cx="3271316" cy="7037279"/>
          </a:xfrm>
        </p:grpSpPr>
        <p:sp>
          <p:nvSpPr>
            <p:cNvPr id="6" name="矩形 13">
              <a:extLst>
                <a:ext uri="{FF2B5EF4-FFF2-40B4-BE49-F238E27FC236}">
                  <a16:creationId xmlns:a16="http://schemas.microsoft.com/office/drawing/2014/main" id="{87062D29-4B3D-43C6-B2F4-87266745F218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7" name="文本框 15">
              <a:extLst>
                <a:ext uri="{FF2B5EF4-FFF2-40B4-BE49-F238E27FC236}">
                  <a16:creationId xmlns:a16="http://schemas.microsoft.com/office/drawing/2014/main" id="{CF04794B-0451-4AF0-8B15-8E5F7B62486B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8" name="矩形 13">
              <a:extLst>
                <a:ext uri="{FF2B5EF4-FFF2-40B4-BE49-F238E27FC236}">
                  <a16:creationId xmlns:a16="http://schemas.microsoft.com/office/drawing/2014/main" id="{0DBE7A85-19E5-4416-A13E-6FDDFBF0D93F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" name="矩形 13">
              <a:extLst>
                <a:ext uri="{FF2B5EF4-FFF2-40B4-BE49-F238E27FC236}">
                  <a16:creationId xmlns:a16="http://schemas.microsoft.com/office/drawing/2014/main" id="{D0D35BE3-9F1D-49FC-BF5E-47C6902D7165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10" name="矩形 13">
              <a:extLst>
                <a:ext uri="{FF2B5EF4-FFF2-40B4-BE49-F238E27FC236}">
                  <a16:creationId xmlns:a16="http://schemas.microsoft.com/office/drawing/2014/main" id="{A556DFAA-1C6B-4B48-AC0A-CF59626865DB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11" name="矩形 13">
              <a:extLst>
                <a:ext uri="{FF2B5EF4-FFF2-40B4-BE49-F238E27FC236}">
                  <a16:creationId xmlns:a16="http://schemas.microsoft.com/office/drawing/2014/main" id="{425D8B17-2E6F-4DA0-98F8-4FA5B19A7F99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12" name="矩形 13">
              <a:extLst>
                <a:ext uri="{FF2B5EF4-FFF2-40B4-BE49-F238E27FC236}">
                  <a16:creationId xmlns:a16="http://schemas.microsoft.com/office/drawing/2014/main" id="{18E165AF-76C3-4826-9D25-C14CD69C9C28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13" name="矩形 13">
              <a:extLst>
                <a:ext uri="{FF2B5EF4-FFF2-40B4-BE49-F238E27FC236}">
                  <a16:creationId xmlns:a16="http://schemas.microsoft.com/office/drawing/2014/main" id="{7402DD78-561C-4E4A-9131-56F32E913BA0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5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14" name="文本框 15">
              <a:extLst>
                <a:ext uri="{FF2B5EF4-FFF2-40B4-BE49-F238E27FC236}">
                  <a16:creationId xmlns:a16="http://schemas.microsoft.com/office/drawing/2014/main" id="{7BE7850B-DB89-4939-8B9F-08E87A592B05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15" name="矩形 13">
              <a:extLst>
                <a:ext uri="{FF2B5EF4-FFF2-40B4-BE49-F238E27FC236}">
                  <a16:creationId xmlns:a16="http://schemas.microsoft.com/office/drawing/2014/main" id="{4821ECEB-5DCD-4780-8BA6-E48654F5DB65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6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16" name="矩形 13">
              <a:extLst>
                <a:ext uri="{FF2B5EF4-FFF2-40B4-BE49-F238E27FC236}">
                  <a16:creationId xmlns:a16="http://schemas.microsoft.com/office/drawing/2014/main" id="{648D93AC-ED6F-4DF5-A58B-A8DB369F7E3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7" name="矩形 13">
              <a:extLst>
                <a:ext uri="{FF2B5EF4-FFF2-40B4-BE49-F238E27FC236}">
                  <a16:creationId xmlns:a16="http://schemas.microsoft.com/office/drawing/2014/main" id="{E3E6EC3D-1867-4ECC-9F16-D29D3271CF3A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8" name="矩形 13">
              <a:extLst>
                <a:ext uri="{FF2B5EF4-FFF2-40B4-BE49-F238E27FC236}">
                  <a16:creationId xmlns:a16="http://schemas.microsoft.com/office/drawing/2014/main" id="{F5E34584-5D8D-4E4C-8F52-24B9319EC2F4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9" name="矩形 13">
              <a:extLst>
                <a:ext uri="{FF2B5EF4-FFF2-40B4-BE49-F238E27FC236}">
                  <a16:creationId xmlns:a16="http://schemas.microsoft.com/office/drawing/2014/main" id="{861F380C-7EE2-4915-A1B4-2DEC2F665DCD}"/>
                </a:ext>
              </a:extLst>
            </p:cNvPr>
            <p:cNvSpPr/>
            <p:nvPr userDrawn="1"/>
          </p:nvSpPr>
          <p:spPr>
            <a:xfrm>
              <a:off x="6184543" y="4866463"/>
              <a:ext cx="791510" cy="664398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20" name="矩形 13">
              <a:extLst>
                <a:ext uri="{FF2B5EF4-FFF2-40B4-BE49-F238E27FC236}">
                  <a16:creationId xmlns:a16="http://schemas.microsoft.com/office/drawing/2014/main" id="{FB920400-BC53-45C0-8624-91B8E82BC5D2}"/>
                </a:ext>
              </a:extLst>
            </p:cNvPr>
            <p:cNvSpPr/>
            <p:nvPr userDrawn="1"/>
          </p:nvSpPr>
          <p:spPr>
            <a:xfrm>
              <a:off x="6182308" y="4134866"/>
              <a:ext cx="791510" cy="664398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21" name="矩形 13">
              <a:extLst>
                <a:ext uri="{FF2B5EF4-FFF2-40B4-BE49-F238E27FC236}">
                  <a16:creationId xmlns:a16="http://schemas.microsoft.com/office/drawing/2014/main" id="{31078EDC-4A9F-43A4-9BA9-907569D85C92}"/>
                </a:ext>
              </a:extLst>
            </p:cNvPr>
            <p:cNvSpPr/>
            <p:nvPr userDrawn="1"/>
          </p:nvSpPr>
          <p:spPr>
            <a:xfrm>
              <a:off x="6177324" y="5596166"/>
              <a:ext cx="791510" cy="664398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22" name="矩形 13">
              <a:extLst>
                <a:ext uri="{FF2B5EF4-FFF2-40B4-BE49-F238E27FC236}">
                  <a16:creationId xmlns:a16="http://schemas.microsoft.com/office/drawing/2014/main" id="{BF5ECD26-9AAC-4B7D-B7B9-5D3E0A2E9DA4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23" name="矩形 13">
              <a:extLst>
                <a:ext uri="{FF2B5EF4-FFF2-40B4-BE49-F238E27FC236}">
                  <a16:creationId xmlns:a16="http://schemas.microsoft.com/office/drawing/2014/main" id="{9D857771-ACBB-41B6-8066-2ED34322E55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24" name="矩形 13">
              <a:extLst>
                <a:ext uri="{FF2B5EF4-FFF2-40B4-BE49-F238E27FC236}">
                  <a16:creationId xmlns:a16="http://schemas.microsoft.com/office/drawing/2014/main" id="{E5C2B2E4-7360-4919-AFF0-3278A14D20A3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25" name="矩形 13">
              <a:extLst>
                <a:ext uri="{FF2B5EF4-FFF2-40B4-BE49-F238E27FC236}">
                  <a16:creationId xmlns:a16="http://schemas.microsoft.com/office/drawing/2014/main" id="{205FF6C6-9AD5-4A14-97CD-DCA40CA434F5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26" name="矩形 13">
              <a:extLst>
                <a:ext uri="{FF2B5EF4-FFF2-40B4-BE49-F238E27FC236}">
                  <a16:creationId xmlns:a16="http://schemas.microsoft.com/office/drawing/2014/main" id="{569590BE-ACA3-4165-A3C8-EF0EC6DE1F37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27" name="矩形 13">
              <a:extLst>
                <a:ext uri="{FF2B5EF4-FFF2-40B4-BE49-F238E27FC236}">
                  <a16:creationId xmlns:a16="http://schemas.microsoft.com/office/drawing/2014/main" id="{A948AC6C-3900-47EE-9D2B-DAAC34E5977E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28" name="矩形 13">
              <a:extLst>
                <a:ext uri="{FF2B5EF4-FFF2-40B4-BE49-F238E27FC236}">
                  <a16:creationId xmlns:a16="http://schemas.microsoft.com/office/drawing/2014/main" id="{00E044ED-DB0C-4B5B-AA77-2ED06094E771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29" name="矩形 13">
              <a:extLst>
                <a:ext uri="{FF2B5EF4-FFF2-40B4-BE49-F238E27FC236}">
                  <a16:creationId xmlns:a16="http://schemas.microsoft.com/office/drawing/2014/main" id="{AF4BCC50-7A8D-4CF9-9D32-45E989EE069A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30" name="矩形 13">
              <a:extLst>
                <a:ext uri="{FF2B5EF4-FFF2-40B4-BE49-F238E27FC236}">
                  <a16:creationId xmlns:a16="http://schemas.microsoft.com/office/drawing/2014/main" id="{CE13758F-40BE-46B4-B658-12AE1F130F54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31" name="矩形 13">
              <a:extLst>
                <a:ext uri="{FF2B5EF4-FFF2-40B4-BE49-F238E27FC236}">
                  <a16:creationId xmlns:a16="http://schemas.microsoft.com/office/drawing/2014/main" id="{0F7F976C-16D5-4D99-9DA3-F8F819C590B4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32" name="矩形 13">
              <a:extLst>
                <a:ext uri="{FF2B5EF4-FFF2-40B4-BE49-F238E27FC236}">
                  <a16:creationId xmlns:a16="http://schemas.microsoft.com/office/drawing/2014/main" id="{4EC6DA09-C57C-4765-A960-35241AA4D022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33" name="矩形 13">
              <a:extLst>
                <a:ext uri="{FF2B5EF4-FFF2-40B4-BE49-F238E27FC236}">
                  <a16:creationId xmlns:a16="http://schemas.microsoft.com/office/drawing/2014/main" id="{3736C081-FFDA-43EE-911D-ED4CF1851E34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34" name="矩形 13">
              <a:extLst>
                <a:ext uri="{FF2B5EF4-FFF2-40B4-BE49-F238E27FC236}">
                  <a16:creationId xmlns:a16="http://schemas.microsoft.com/office/drawing/2014/main" id="{D7DD5600-BA67-4684-B31D-5D51E301D21F}"/>
                </a:ext>
              </a:extLst>
            </p:cNvPr>
            <p:cNvSpPr/>
            <p:nvPr/>
          </p:nvSpPr>
          <p:spPr>
            <a:xfrm>
              <a:off x="7811114" y="3415851"/>
              <a:ext cx="791510" cy="664398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35" name="矩形 13">
              <a:extLst>
                <a:ext uri="{FF2B5EF4-FFF2-40B4-BE49-F238E27FC236}">
                  <a16:creationId xmlns:a16="http://schemas.microsoft.com/office/drawing/2014/main" id="{BC3B5A4E-6C32-4D05-AF55-90FF1B2229EE}"/>
                </a:ext>
              </a:extLst>
            </p:cNvPr>
            <p:cNvSpPr/>
            <p:nvPr/>
          </p:nvSpPr>
          <p:spPr>
            <a:xfrm>
              <a:off x="7820945" y="4866463"/>
              <a:ext cx="791510" cy="664398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36" name="矩形 13">
              <a:extLst>
                <a:ext uri="{FF2B5EF4-FFF2-40B4-BE49-F238E27FC236}">
                  <a16:creationId xmlns:a16="http://schemas.microsoft.com/office/drawing/2014/main" id="{F88EA78A-8884-4B54-B1DC-FEF751661CA0}"/>
                </a:ext>
              </a:extLst>
            </p:cNvPr>
            <p:cNvSpPr/>
            <p:nvPr/>
          </p:nvSpPr>
          <p:spPr>
            <a:xfrm>
              <a:off x="7818707" y="4134866"/>
              <a:ext cx="791510" cy="664398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37" name="矩形 13">
              <a:extLst>
                <a:ext uri="{FF2B5EF4-FFF2-40B4-BE49-F238E27FC236}">
                  <a16:creationId xmlns:a16="http://schemas.microsoft.com/office/drawing/2014/main" id="{30D76234-18BB-4226-91F3-496541FDB173}"/>
                </a:ext>
              </a:extLst>
            </p:cNvPr>
            <p:cNvSpPr/>
            <p:nvPr/>
          </p:nvSpPr>
          <p:spPr>
            <a:xfrm>
              <a:off x="7823691" y="5596166"/>
              <a:ext cx="791510" cy="664398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190/233/238</a:t>
              </a:r>
            </a:p>
          </p:txBody>
        </p:sp>
        <p:sp>
          <p:nvSpPr>
            <p:cNvPr id="38" name="矩形 13">
              <a:extLst>
                <a:ext uri="{FF2B5EF4-FFF2-40B4-BE49-F238E27FC236}">
                  <a16:creationId xmlns:a16="http://schemas.microsoft.com/office/drawing/2014/main" id="{742E2780-BD5E-413B-9BE8-96DFFF8B5649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39" name="矩形 13">
              <a:extLst>
                <a:ext uri="{FF2B5EF4-FFF2-40B4-BE49-F238E27FC236}">
                  <a16:creationId xmlns:a16="http://schemas.microsoft.com/office/drawing/2014/main" id="{89CF25F0-ACC6-4FC4-948A-BCE4A802FD25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40" name="矩形 13">
              <a:extLst>
                <a:ext uri="{FF2B5EF4-FFF2-40B4-BE49-F238E27FC236}">
                  <a16:creationId xmlns:a16="http://schemas.microsoft.com/office/drawing/2014/main" id="{8D2EF9D5-EBCD-490B-B8B9-645C824F91AD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0/0/0</a:t>
              </a:r>
            </a:p>
          </p:txBody>
        </p:sp>
        <p:sp>
          <p:nvSpPr>
            <p:cNvPr id="41" name="矩形 13">
              <a:extLst>
                <a:ext uri="{FF2B5EF4-FFF2-40B4-BE49-F238E27FC236}">
                  <a16:creationId xmlns:a16="http://schemas.microsoft.com/office/drawing/2014/main" id="{0286ECB3-922D-48DD-AFE7-9C6E9060C6F2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42" name="矩形 13">
              <a:extLst>
                <a:ext uri="{FF2B5EF4-FFF2-40B4-BE49-F238E27FC236}">
                  <a16:creationId xmlns:a16="http://schemas.microsoft.com/office/drawing/2014/main" id="{26843338-C6AE-4E98-95C9-EA160CC2B30A}"/>
                </a:ext>
              </a:extLst>
            </p:cNvPr>
            <p:cNvSpPr/>
            <p:nvPr userDrawn="1"/>
          </p:nvSpPr>
          <p:spPr>
            <a:xfrm>
              <a:off x="6445335" y="6324024"/>
              <a:ext cx="513579" cy="664398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43" name="矩形 13">
              <a:extLst>
                <a:ext uri="{FF2B5EF4-FFF2-40B4-BE49-F238E27FC236}">
                  <a16:creationId xmlns:a16="http://schemas.microsoft.com/office/drawing/2014/main" id="{F41285F2-C98F-44DF-810D-AFDA8C2F7252}"/>
                </a:ext>
              </a:extLst>
            </p:cNvPr>
            <p:cNvSpPr/>
            <p:nvPr userDrawn="1"/>
          </p:nvSpPr>
          <p:spPr>
            <a:xfrm>
              <a:off x="7003279" y="6324024"/>
              <a:ext cx="513579" cy="664398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44" name="矩形 13">
              <a:extLst>
                <a:ext uri="{FF2B5EF4-FFF2-40B4-BE49-F238E27FC236}">
                  <a16:creationId xmlns:a16="http://schemas.microsoft.com/office/drawing/2014/main" id="{316800BF-7174-4B63-B993-7FF3F38E786A}"/>
                </a:ext>
              </a:extLst>
            </p:cNvPr>
            <p:cNvSpPr/>
            <p:nvPr userDrawn="1"/>
          </p:nvSpPr>
          <p:spPr>
            <a:xfrm>
              <a:off x="7551547" y="6324024"/>
              <a:ext cx="513579" cy="664398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45" name="矩形 13">
              <a:extLst>
                <a:ext uri="{FF2B5EF4-FFF2-40B4-BE49-F238E27FC236}">
                  <a16:creationId xmlns:a16="http://schemas.microsoft.com/office/drawing/2014/main" id="{E3AFA688-A359-4262-BC4E-961D2F75A295}"/>
                </a:ext>
              </a:extLst>
            </p:cNvPr>
            <p:cNvSpPr/>
            <p:nvPr userDrawn="1"/>
          </p:nvSpPr>
          <p:spPr>
            <a:xfrm>
              <a:off x="8098559" y="6324024"/>
              <a:ext cx="513579" cy="66439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5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01023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71" r:id="rId1"/>
  </p:sldLayoutIdLst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62">
          <p15:clr>
            <a:srgbClr val="F26B43"/>
          </p15:clr>
        </p15:guide>
        <p15:guide id="2" pos="7216">
          <p15:clr>
            <a:srgbClr val="F26B43"/>
          </p15:clr>
        </p15:guide>
        <p15:guide id="3" orient="horz" pos="550">
          <p15:clr>
            <a:srgbClr val="F26B43"/>
          </p15:clr>
        </p15:guide>
        <p15:guide id="4" orient="horz" pos="731">
          <p15:clr>
            <a:srgbClr val="F26B43"/>
          </p15:clr>
        </p15:guide>
        <p15:guide id="5" orient="horz" pos="3974">
          <p15:clr>
            <a:srgbClr val="F26B43"/>
          </p15:clr>
        </p15:guide>
        <p15:guide id="6" orient="horz" pos="3816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图片 45">
            <a:extLst>
              <a:ext uri="{FF2B5EF4-FFF2-40B4-BE49-F238E27FC236}">
                <a16:creationId xmlns:a16="http://schemas.microsoft.com/office/drawing/2014/main" id="{5DA56BEE-DFA7-442F-9C20-57FEE64A873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11" y="0"/>
            <a:ext cx="12191140" cy="6858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28543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1D1D1B"/>
                </a:solidFill>
                <a:cs typeface="Arial" panose="020B0604020202020204" pitchFamily="34" charset="0"/>
              </a:rPr>
              <a:t>Huawei Proprietary – Restricted Distribu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cs typeface="Arial" panose="020B0604020202020204" pitchFamily="34" charset="0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  <p:grpSp>
        <p:nvGrpSpPr>
          <p:cNvPr id="5" name="Group 87">
            <a:extLst>
              <a:ext uri="{FF2B5EF4-FFF2-40B4-BE49-F238E27FC236}">
                <a16:creationId xmlns:a16="http://schemas.microsoft.com/office/drawing/2014/main" id="{CBB91E99-E194-4FBA-98E8-C8C541AFAD7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0" y="2625389"/>
            <a:ext cx="1967973" cy="4233515"/>
            <a:chOff x="5343885" y="-48857"/>
            <a:chExt cx="3271316" cy="7037279"/>
          </a:xfrm>
        </p:grpSpPr>
        <p:sp>
          <p:nvSpPr>
            <p:cNvPr id="6" name="矩形 13">
              <a:extLst>
                <a:ext uri="{FF2B5EF4-FFF2-40B4-BE49-F238E27FC236}">
                  <a16:creationId xmlns:a16="http://schemas.microsoft.com/office/drawing/2014/main" id="{87062D29-4B3D-43C6-B2F4-87266745F218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7" name="文本框 15">
              <a:extLst>
                <a:ext uri="{FF2B5EF4-FFF2-40B4-BE49-F238E27FC236}">
                  <a16:creationId xmlns:a16="http://schemas.microsoft.com/office/drawing/2014/main" id="{CF04794B-0451-4AF0-8B15-8E5F7B62486B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8" name="矩形 13">
              <a:extLst>
                <a:ext uri="{FF2B5EF4-FFF2-40B4-BE49-F238E27FC236}">
                  <a16:creationId xmlns:a16="http://schemas.microsoft.com/office/drawing/2014/main" id="{0DBE7A85-19E5-4416-A13E-6FDDFBF0D93F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" name="矩形 13">
              <a:extLst>
                <a:ext uri="{FF2B5EF4-FFF2-40B4-BE49-F238E27FC236}">
                  <a16:creationId xmlns:a16="http://schemas.microsoft.com/office/drawing/2014/main" id="{D0D35BE3-9F1D-49FC-BF5E-47C6902D7165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10" name="矩形 13">
              <a:extLst>
                <a:ext uri="{FF2B5EF4-FFF2-40B4-BE49-F238E27FC236}">
                  <a16:creationId xmlns:a16="http://schemas.microsoft.com/office/drawing/2014/main" id="{A556DFAA-1C6B-4B48-AC0A-CF59626865DB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11" name="矩形 13">
              <a:extLst>
                <a:ext uri="{FF2B5EF4-FFF2-40B4-BE49-F238E27FC236}">
                  <a16:creationId xmlns:a16="http://schemas.microsoft.com/office/drawing/2014/main" id="{425D8B17-2E6F-4DA0-98F8-4FA5B19A7F99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12" name="矩形 13">
              <a:extLst>
                <a:ext uri="{FF2B5EF4-FFF2-40B4-BE49-F238E27FC236}">
                  <a16:creationId xmlns:a16="http://schemas.microsoft.com/office/drawing/2014/main" id="{18E165AF-76C3-4826-9D25-C14CD69C9C28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13" name="矩形 13">
              <a:extLst>
                <a:ext uri="{FF2B5EF4-FFF2-40B4-BE49-F238E27FC236}">
                  <a16:creationId xmlns:a16="http://schemas.microsoft.com/office/drawing/2014/main" id="{7402DD78-561C-4E4A-9131-56F32E913BA0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5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14" name="文本框 15">
              <a:extLst>
                <a:ext uri="{FF2B5EF4-FFF2-40B4-BE49-F238E27FC236}">
                  <a16:creationId xmlns:a16="http://schemas.microsoft.com/office/drawing/2014/main" id="{7BE7850B-DB89-4939-8B9F-08E87A592B05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15" name="矩形 13">
              <a:extLst>
                <a:ext uri="{FF2B5EF4-FFF2-40B4-BE49-F238E27FC236}">
                  <a16:creationId xmlns:a16="http://schemas.microsoft.com/office/drawing/2014/main" id="{4821ECEB-5DCD-4780-8BA6-E48654F5DB65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6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16" name="矩形 13">
              <a:extLst>
                <a:ext uri="{FF2B5EF4-FFF2-40B4-BE49-F238E27FC236}">
                  <a16:creationId xmlns:a16="http://schemas.microsoft.com/office/drawing/2014/main" id="{648D93AC-ED6F-4DF5-A58B-A8DB369F7E3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7" name="矩形 13">
              <a:extLst>
                <a:ext uri="{FF2B5EF4-FFF2-40B4-BE49-F238E27FC236}">
                  <a16:creationId xmlns:a16="http://schemas.microsoft.com/office/drawing/2014/main" id="{E3E6EC3D-1867-4ECC-9F16-D29D3271CF3A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8" name="矩形 13">
              <a:extLst>
                <a:ext uri="{FF2B5EF4-FFF2-40B4-BE49-F238E27FC236}">
                  <a16:creationId xmlns:a16="http://schemas.microsoft.com/office/drawing/2014/main" id="{F5E34584-5D8D-4E4C-8F52-24B9319EC2F4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9" name="矩形 13">
              <a:extLst>
                <a:ext uri="{FF2B5EF4-FFF2-40B4-BE49-F238E27FC236}">
                  <a16:creationId xmlns:a16="http://schemas.microsoft.com/office/drawing/2014/main" id="{861F380C-7EE2-4915-A1B4-2DEC2F665DCD}"/>
                </a:ext>
              </a:extLst>
            </p:cNvPr>
            <p:cNvSpPr/>
            <p:nvPr userDrawn="1"/>
          </p:nvSpPr>
          <p:spPr>
            <a:xfrm>
              <a:off x="6184543" y="4866463"/>
              <a:ext cx="791510" cy="664398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20" name="矩形 13">
              <a:extLst>
                <a:ext uri="{FF2B5EF4-FFF2-40B4-BE49-F238E27FC236}">
                  <a16:creationId xmlns:a16="http://schemas.microsoft.com/office/drawing/2014/main" id="{FB920400-BC53-45C0-8624-91B8E82BC5D2}"/>
                </a:ext>
              </a:extLst>
            </p:cNvPr>
            <p:cNvSpPr/>
            <p:nvPr userDrawn="1"/>
          </p:nvSpPr>
          <p:spPr>
            <a:xfrm>
              <a:off x="6182308" y="4134866"/>
              <a:ext cx="791510" cy="664398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21" name="矩形 13">
              <a:extLst>
                <a:ext uri="{FF2B5EF4-FFF2-40B4-BE49-F238E27FC236}">
                  <a16:creationId xmlns:a16="http://schemas.microsoft.com/office/drawing/2014/main" id="{31078EDC-4A9F-43A4-9BA9-907569D85C92}"/>
                </a:ext>
              </a:extLst>
            </p:cNvPr>
            <p:cNvSpPr/>
            <p:nvPr userDrawn="1"/>
          </p:nvSpPr>
          <p:spPr>
            <a:xfrm>
              <a:off x="6177324" y="5596166"/>
              <a:ext cx="791510" cy="664398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22" name="矩形 13">
              <a:extLst>
                <a:ext uri="{FF2B5EF4-FFF2-40B4-BE49-F238E27FC236}">
                  <a16:creationId xmlns:a16="http://schemas.microsoft.com/office/drawing/2014/main" id="{BF5ECD26-9AAC-4B7D-B7B9-5D3E0A2E9DA4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23" name="矩形 13">
              <a:extLst>
                <a:ext uri="{FF2B5EF4-FFF2-40B4-BE49-F238E27FC236}">
                  <a16:creationId xmlns:a16="http://schemas.microsoft.com/office/drawing/2014/main" id="{9D857771-ACBB-41B6-8066-2ED34322E55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24" name="矩形 13">
              <a:extLst>
                <a:ext uri="{FF2B5EF4-FFF2-40B4-BE49-F238E27FC236}">
                  <a16:creationId xmlns:a16="http://schemas.microsoft.com/office/drawing/2014/main" id="{E5C2B2E4-7360-4919-AFF0-3278A14D20A3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25" name="矩形 13">
              <a:extLst>
                <a:ext uri="{FF2B5EF4-FFF2-40B4-BE49-F238E27FC236}">
                  <a16:creationId xmlns:a16="http://schemas.microsoft.com/office/drawing/2014/main" id="{205FF6C6-9AD5-4A14-97CD-DCA40CA434F5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26" name="矩形 13">
              <a:extLst>
                <a:ext uri="{FF2B5EF4-FFF2-40B4-BE49-F238E27FC236}">
                  <a16:creationId xmlns:a16="http://schemas.microsoft.com/office/drawing/2014/main" id="{569590BE-ACA3-4165-A3C8-EF0EC6DE1F37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27" name="矩形 13">
              <a:extLst>
                <a:ext uri="{FF2B5EF4-FFF2-40B4-BE49-F238E27FC236}">
                  <a16:creationId xmlns:a16="http://schemas.microsoft.com/office/drawing/2014/main" id="{A948AC6C-3900-47EE-9D2B-DAAC34E5977E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28" name="矩形 13">
              <a:extLst>
                <a:ext uri="{FF2B5EF4-FFF2-40B4-BE49-F238E27FC236}">
                  <a16:creationId xmlns:a16="http://schemas.microsoft.com/office/drawing/2014/main" id="{00E044ED-DB0C-4B5B-AA77-2ED06094E771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29" name="矩形 13">
              <a:extLst>
                <a:ext uri="{FF2B5EF4-FFF2-40B4-BE49-F238E27FC236}">
                  <a16:creationId xmlns:a16="http://schemas.microsoft.com/office/drawing/2014/main" id="{AF4BCC50-7A8D-4CF9-9D32-45E989EE069A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30" name="矩形 13">
              <a:extLst>
                <a:ext uri="{FF2B5EF4-FFF2-40B4-BE49-F238E27FC236}">
                  <a16:creationId xmlns:a16="http://schemas.microsoft.com/office/drawing/2014/main" id="{CE13758F-40BE-46B4-B658-12AE1F130F54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31" name="矩形 13">
              <a:extLst>
                <a:ext uri="{FF2B5EF4-FFF2-40B4-BE49-F238E27FC236}">
                  <a16:creationId xmlns:a16="http://schemas.microsoft.com/office/drawing/2014/main" id="{0F7F976C-16D5-4D99-9DA3-F8F819C590B4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32" name="矩形 13">
              <a:extLst>
                <a:ext uri="{FF2B5EF4-FFF2-40B4-BE49-F238E27FC236}">
                  <a16:creationId xmlns:a16="http://schemas.microsoft.com/office/drawing/2014/main" id="{4EC6DA09-C57C-4765-A960-35241AA4D022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33" name="矩形 13">
              <a:extLst>
                <a:ext uri="{FF2B5EF4-FFF2-40B4-BE49-F238E27FC236}">
                  <a16:creationId xmlns:a16="http://schemas.microsoft.com/office/drawing/2014/main" id="{3736C081-FFDA-43EE-911D-ED4CF1851E34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34" name="矩形 13">
              <a:extLst>
                <a:ext uri="{FF2B5EF4-FFF2-40B4-BE49-F238E27FC236}">
                  <a16:creationId xmlns:a16="http://schemas.microsoft.com/office/drawing/2014/main" id="{D7DD5600-BA67-4684-B31D-5D51E301D21F}"/>
                </a:ext>
              </a:extLst>
            </p:cNvPr>
            <p:cNvSpPr/>
            <p:nvPr/>
          </p:nvSpPr>
          <p:spPr>
            <a:xfrm>
              <a:off x="7811114" y="3415851"/>
              <a:ext cx="791510" cy="664398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35" name="矩形 13">
              <a:extLst>
                <a:ext uri="{FF2B5EF4-FFF2-40B4-BE49-F238E27FC236}">
                  <a16:creationId xmlns:a16="http://schemas.microsoft.com/office/drawing/2014/main" id="{BC3B5A4E-6C32-4D05-AF55-90FF1B2229EE}"/>
                </a:ext>
              </a:extLst>
            </p:cNvPr>
            <p:cNvSpPr/>
            <p:nvPr/>
          </p:nvSpPr>
          <p:spPr>
            <a:xfrm>
              <a:off x="7820945" y="4866463"/>
              <a:ext cx="791510" cy="664398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36" name="矩形 13">
              <a:extLst>
                <a:ext uri="{FF2B5EF4-FFF2-40B4-BE49-F238E27FC236}">
                  <a16:creationId xmlns:a16="http://schemas.microsoft.com/office/drawing/2014/main" id="{F88EA78A-8884-4B54-B1DC-FEF751661CA0}"/>
                </a:ext>
              </a:extLst>
            </p:cNvPr>
            <p:cNvSpPr/>
            <p:nvPr/>
          </p:nvSpPr>
          <p:spPr>
            <a:xfrm>
              <a:off x="7818707" y="4134866"/>
              <a:ext cx="791510" cy="664398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37" name="矩形 13">
              <a:extLst>
                <a:ext uri="{FF2B5EF4-FFF2-40B4-BE49-F238E27FC236}">
                  <a16:creationId xmlns:a16="http://schemas.microsoft.com/office/drawing/2014/main" id="{30D76234-18BB-4226-91F3-496541FDB173}"/>
                </a:ext>
              </a:extLst>
            </p:cNvPr>
            <p:cNvSpPr/>
            <p:nvPr/>
          </p:nvSpPr>
          <p:spPr>
            <a:xfrm>
              <a:off x="7823691" y="5596166"/>
              <a:ext cx="791510" cy="664398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190/233/238</a:t>
              </a:r>
            </a:p>
          </p:txBody>
        </p:sp>
        <p:sp>
          <p:nvSpPr>
            <p:cNvPr id="38" name="矩形 13">
              <a:extLst>
                <a:ext uri="{FF2B5EF4-FFF2-40B4-BE49-F238E27FC236}">
                  <a16:creationId xmlns:a16="http://schemas.microsoft.com/office/drawing/2014/main" id="{742E2780-BD5E-413B-9BE8-96DFFF8B5649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39" name="矩形 13">
              <a:extLst>
                <a:ext uri="{FF2B5EF4-FFF2-40B4-BE49-F238E27FC236}">
                  <a16:creationId xmlns:a16="http://schemas.microsoft.com/office/drawing/2014/main" id="{89CF25F0-ACC6-4FC4-948A-BCE4A802FD25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40" name="矩形 13">
              <a:extLst>
                <a:ext uri="{FF2B5EF4-FFF2-40B4-BE49-F238E27FC236}">
                  <a16:creationId xmlns:a16="http://schemas.microsoft.com/office/drawing/2014/main" id="{8D2EF9D5-EBCD-490B-B8B9-645C824F91AD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0/0/0</a:t>
              </a:r>
            </a:p>
          </p:txBody>
        </p:sp>
        <p:sp>
          <p:nvSpPr>
            <p:cNvPr id="41" name="矩形 13">
              <a:extLst>
                <a:ext uri="{FF2B5EF4-FFF2-40B4-BE49-F238E27FC236}">
                  <a16:creationId xmlns:a16="http://schemas.microsoft.com/office/drawing/2014/main" id="{0286ECB3-922D-48DD-AFE7-9C6E9060C6F2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42" name="矩形 13">
              <a:extLst>
                <a:ext uri="{FF2B5EF4-FFF2-40B4-BE49-F238E27FC236}">
                  <a16:creationId xmlns:a16="http://schemas.microsoft.com/office/drawing/2014/main" id="{26843338-C6AE-4E98-95C9-EA160CC2B30A}"/>
                </a:ext>
              </a:extLst>
            </p:cNvPr>
            <p:cNvSpPr/>
            <p:nvPr userDrawn="1"/>
          </p:nvSpPr>
          <p:spPr>
            <a:xfrm>
              <a:off x="6445335" y="6324024"/>
              <a:ext cx="513579" cy="664398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43" name="矩形 13">
              <a:extLst>
                <a:ext uri="{FF2B5EF4-FFF2-40B4-BE49-F238E27FC236}">
                  <a16:creationId xmlns:a16="http://schemas.microsoft.com/office/drawing/2014/main" id="{F41285F2-C98F-44DF-810D-AFDA8C2F7252}"/>
                </a:ext>
              </a:extLst>
            </p:cNvPr>
            <p:cNvSpPr/>
            <p:nvPr userDrawn="1"/>
          </p:nvSpPr>
          <p:spPr>
            <a:xfrm>
              <a:off x="7003279" y="6324024"/>
              <a:ext cx="513579" cy="664398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44" name="矩形 13">
              <a:extLst>
                <a:ext uri="{FF2B5EF4-FFF2-40B4-BE49-F238E27FC236}">
                  <a16:creationId xmlns:a16="http://schemas.microsoft.com/office/drawing/2014/main" id="{316800BF-7174-4B63-B993-7FF3F38E786A}"/>
                </a:ext>
              </a:extLst>
            </p:cNvPr>
            <p:cNvSpPr/>
            <p:nvPr userDrawn="1"/>
          </p:nvSpPr>
          <p:spPr>
            <a:xfrm>
              <a:off x="7551547" y="6324024"/>
              <a:ext cx="513579" cy="664398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45" name="矩形 13">
              <a:extLst>
                <a:ext uri="{FF2B5EF4-FFF2-40B4-BE49-F238E27FC236}">
                  <a16:creationId xmlns:a16="http://schemas.microsoft.com/office/drawing/2014/main" id="{E3AFA688-A359-4262-BC4E-961D2F75A295}"/>
                </a:ext>
              </a:extLst>
            </p:cNvPr>
            <p:cNvSpPr/>
            <p:nvPr userDrawn="1"/>
          </p:nvSpPr>
          <p:spPr>
            <a:xfrm>
              <a:off x="8098559" y="6324024"/>
              <a:ext cx="513579" cy="66439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5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52469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74" r:id="rId1"/>
  </p:sldLayoutIdLst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62">
          <p15:clr>
            <a:srgbClr val="F26B43"/>
          </p15:clr>
        </p15:guide>
        <p15:guide id="2" pos="7216">
          <p15:clr>
            <a:srgbClr val="F26B43"/>
          </p15:clr>
        </p15:guide>
        <p15:guide id="3" orient="horz" pos="550">
          <p15:clr>
            <a:srgbClr val="F26B43"/>
          </p15:clr>
        </p15:guide>
        <p15:guide id="4" orient="horz" pos="731">
          <p15:clr>
            <a:srgbClr val="F26B43"/>
          </p15:clr>
        </p15:guide>
        <p15:guide id="5" orient="horz" pos="3974">
          <p15:clr>
            <a:srgbClr val="F26B43"/>
          </p15:clr>
        </p15:guide>
        <p15:guide id="6" orient="horz" pos="381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28543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0" baseline="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Proprietary – Restricted Distribu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08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8908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  <p:grpSp>
        <p:nvGrpSpPr>
          <p:cNvPr id="5" name="Group 87">
            <a:extLst>
              <a:ext uri="{FF2B5EF4-FFF2-40B4-BE49-F238E27FC236}">
                <a16:creationId xmlns:a16="http://schemas.microsoft.com/office/drawing/2014/main" id="{CBB91E99-E194-4FBA-98E8-C8C541AFAD7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0" y="2625389"/>
            <a:ext cx="1967973" cy="4233515"/>
            <a:chOff x="5343885" y="-48857"/>
            <a:chExt cx="3271316" cy="7037279"/>
          </a:xfrm>
        </p:grpSpPr>
        <p:sp>
          <p:nvSpPr>
            <p:cNvPr id="6" name="矩形 13">
              <a:extLst>
                <a:ext uri="{FF2B5EF4-FFF2-40B4-BE49-F238E27FC236}">
                  <a16:creationId xmlns:a16="http://schemas.microsoft.com/office/drawing/2014/main" id="{87062D29-4B3D-43C6-B2F4-87266745F218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7" name="文本框 15">
              <a:extLst>
                <a:ext uri="{FF2B5EF4-FFF2-40B4-BE49-F238E27FC236}">
                  <a16:creationId xmlns:a16="http://schemas.microsoft.com/office/drawing/2014/main" id="{CF04794B-0451-4AF0-8B15-8E5F7B62486B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algn="l">
                <a:lnSpc>
                  <a:spcPct val="100000"/>
                </a:lnSpc>
              </a:pPr>
              <a:r>
                <a:rPr kumimoji="1" lang="zh-CN" altLang="en-US" sz="800" b="0" i="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8" name="矩形 13">
              <a:extLst>
                <a:ext uri="{FF2B5EF4-FFF2-40B4-BE49-F238E27FC236}">
                  <a16:creationId xmlns:a16="http://schemas.microsoft.com/office/drawing/2014/main" id="{0DBE7A85-19E5-4416-A13E-6FDDFBF0D93F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" name="矩形 13">
              <a:extLst>
                <a:ext uri="{FF2B5EF4-FFF2-40B4-BE49-F238E27FC236}">
                  <a16:creationId xmlns:a16="http://schemas.microsoft.com/office/drawing/2014/main" id="{D0D35BE3-9F1D-49FC-BF5E-47C6902D7165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10" name="矩形 13">
              <a:extLst>
                <a:ext uri="{FF2B5EF4-FFF2-40B4-BE49-F238E27FC236}">
                  <a16:creationId xmlns:a16="http://schemas.microsoft.com/office/drawing/2014/main" id="{A556DFAA-1C6B-4B48-AC0A-CF59626865DB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78" rtl="0" eaLnBrk="1" fontAlgn="auto" latinLnBrk="0" hangingPunct="1">
                <a:lnSpc>
                  <a:spcPts val="6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11" name="矩形 13">
              <a:extLst>
                <a:ext uri="{FF2B5EF4-FFF2-40B4-BE49-F238E27FC236}">
                  <a16:creationId xmlns:a16="http://schemas.microsoft.com/office/drawing/2014/main" id="{425D8B17-2E6F-4DA0-98F8-4FA5B19A7F99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12" name="矩形 13">
              <a:extLst>
                <a:ext uri="{FF2B5EF4-FFF2-40B4-BE49-F238E27FC236}">
                  <a16:creationId xmlns:a16="http://schemas.microsoft.com/office/drawing/2014/main" id="{18E165AF-76C3-4826-9D25-C14CD69C9C28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" name="矩形 13">
              <a:extLst>
                <a:ext uri="{FF2B5EF4-FFF2-40B4-BE49-F238E27FC236}">
                  <a16:creationId xmlns:a16="http://schemas.microsoft.com/office/drawing/2014/main" id="{7402DD78-561C-4E4A-9131-56F32E913BA0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  <a:t>PANTONE 185C</a:t>
              </a:r>
            </a:p>
            <a:p>
              <a:pPr algn="ctr">
                <a:lnSpc>
                  <a:spcPts val="620"/>
                </a:lnSpc>
                <a:spcBef>
                  <a:spcPts val="0"/>
                </a:spcBef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14" name="文本框 15">
              <a:extLst>
                <a:ext uri="{FF2B5EF4-FFF2-40B4-BE49-F238E27FC236}">
                  <a16:creationId xmlns:a16="http://schemas.microsoft.com/office/drawing/2014/main" id="{7BE7850B-DB89-4939-8B9F-08E87A592B05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algn="l">
                <a:lnSpc>
                  <a:spcPct val="100000"/>
                </a:lnSpc>
              </a:pPr>
              <a:r>
                <a:rPr kumimoji="1" lang="zh-CN" altLang="en-US" sz="800" b="0" i="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15" name="矩形 13">
              <a:extLst>
                <a:ext uri="{FF2B5EF4-FFF2-40B4-BE49-F238E27FC236}">
                  <a16:creationId xmlns:a16="http://schemas.microsoft.com/office/drawing/2014/main" id="{4821ECEB-5DCD-4780-8BA6-E48654F5DB65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  <a:t>PANTONE 186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chemeClr val="tx2"/>
                  </a:solidFill>
                  <a:latin typeface="Arial" charset="0"/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16" name="矩形 13">
              <a:extLst>
                <a:ext uri="{FF2B5EF4-FFF2-40B4-BE49-F238E27FC236}">
                  <a16:creationId xmlns:a16="http://schemas.microsoft.com/office/drawing/2014/main" id="{648D93AC-ED6F-4DF5-A58B-A8DB369F7E3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7" name="矩形 13">
              <a:extLst>
                <a:ext uri="{FF2B5EF4-FFF2-40B4-BE49-F238E27FC236}">
                  <a16:creationId xmlns:a16="http://schemas.microsoft.com/office/drawing/2014/main" id="{E3E6EC3D-1867-4ECC-9F16-D29D3271CF3A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8" name="矩形 13">
              <a:extLst>
                <a:ext uri="{FF2B5EF4-FFF2-40B4-BE49-F238E27FC236}">
                  <a16:creationId xmlns:a16="http://schemas.microsoft.com/office/drawing/2014/main" id="{F5E34584-5D8D-4E4C-8F52-24B9319EC2F4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9" name="矩形 13">
              <a:extLst>
                <a:ext uri="{FF2B5EF4-FFF2-40B4-BE49-F238E27FC236}">
                  <a16:creationId xmlns:a16="http://schemas.microsoft.com/office/drawing/2014/main" id="{861F380C-7EE2-4915-A1B4-2DEC2F665DCD}"/>
                </a:ext>
              </a:extLst>
            </p:cNvPr>
            <p:cNvSpPr/>
            <p:nvPr userDrawn="1"/>
          </p:nvSpPr>
          <p:spPr>
            <a:xfrm>
              <a:off x="6184543" y="4866463"/>
              <a:ext cx="791510" cy="664398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20" name="矩形 13">
              <a:extLst>
                <a:ext uri="{FF2B5EF4-FFF2-40B4-BE49-F238E27FC236}">
                  <a16:creationId xmlns:a16="http://schemas.microsoft.com/office/drawing/2014/main" id="{FB920400-BC53-45C0-8624-91B8E82BC5D2}"/>
                </a:ext>
              </a:extLst>
            </p:cNvPr>
            <p:cNvSpPr/>
            <p:nvPr userDrawn="1"/>
          </p:nvSpPr>
          <p:spPr>
            <a:xfrm>
              <a:off x="6182308" y="4134866"/>
              <a:ext cx="791510" cy="664398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21" name="矩形 13">
              <a:extLst>
                <a:ext uri="{FF2B5EF4-FFF2-40B4-BE49-F238E27FC236}">
                  <a16:creationId xmlns:a16="http://schemas.microsoft.com/office/drawing/2014/main" id="{31078EDC-4A9F-43A4-9BA9-907569D85C92}"/>
                </a:ext>
              </a:extLst>
            </p:cNvPr>
            <p:cNvSpPr/>
            <p:nvPr userDrawn="1"/>
          </p:nvSpPr>
          <p:spPr>
            <a:xfrm>
              <a:off x="6177324" y="5596166"/>
              <a:ext cx="791510" cy="664398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22" name="矩形 13">
              <a:extLst>
                <a:ext uri="{FF2B5EF4-FFF2-40B4-BE49-F238E27FC236}">
                  <a16:creationId xmlns:a16="http://schemas.microsoft.com/office/drawing/2014/main" id="{BF5ECD26-9AAC-4B7D-B7B9-5D3E0A2E9DA4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23" name="矩形 13">
              <a:extLst>
                <a:ext uri="{FF2B5EF4-FFF2-40B4-BE49-F238E27FC236}">
                  <a16:creationId xmlns:a16="http://schemas.microsoft.com/office/drawing/2014/main" id="{9D857771-ACBB-41B6-8066-2ED34322E55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24" name="矩形 13">
              <a:extLst>
                <a:ext uri="{FF2B5EF4-FFF2-40B4-BE49-F238E27FC236}">
                  <a16:creationId xmlns:a16="http://schemas.microsoft.com/office/drawing/2014/main" id="{E5C2B2E4-7360-4919-AFF0-3278A14D20A3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25" name="矩形 13">
              <a:extLst>
                <a:ext uri="{FF2B5EF4-FFF2-40B4-BE49-F238E27FC236}">
                  <a16:creationId xmlns:a16="http://schemas.microsoft.com/office/drawing/2014/main" id="{205FF6C6-9AD5-4A14-97CD-DCA40CA434F5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78" rtl="0" eaLnBrk="1" fontAlgn="auto" latinLnBrk="0" hangingPunct="1">
                <a:lnSpc>
                  <a:spcPts val="6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26" name="矩形 13">
              <a:extLst>
                <a:ext uri="{FF2B5EF4-FFF2-40B4-BE49-F238E27FC236}">
                  <a16:creationId xmlns:a16="http://schemas.microsoft.com/office/drawing/2014/main" id="{569590BE-ACA3-4165-A3C8-EF0EC6DE1F37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7" name="矩形 13">
              <a:extLst>
                <a:ext uri="{FF2B5EF4-FFF2-40B4-BE49-F238E27FC236}">
                  <a16:creationId xmlns:a16="http://schemas.microsoft.com/office/drawing/2014/main" id="{A948AC6C-3900-47EE-9D2B-DAAC34E5977E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28" name="矩形 13">
              <a:extLst>
                <a:ext uri="{FF2B5EF4-FFF2-40B4-BE49-F238E27FC236}">
                  <a16:creationId xmlns:a16="http://schemas.microsoft.com/office/drawing/2014/main" id="{00E044ED-DB0C-4B5B-AA77-2ED06094E771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29" name="矩形 13">
              <a:extLst>
                <a:ext uri="{FF2B5EF4-FFF2-40B4-BE49-F238E27FC236}">
                  <a16:creationId xmlns:a16="http://schemas.microsoft.com/office/drawing/2014/main" id="{AF4BCC50-7A8D-4CF9-9D32-45E989EE069A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30" name="矩形 13">
              <a:extLst>
                <a:ext uri="{FF2B5EF4-FFF2-40B4-BE49-F238E27FC236}">
                  <a16:creationId xmlns:a16="http://schemas.microsoft.com/office/drawing/2014/main" id="{CE13758F-40BE-46B4-B658-12AE1F130F54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31" name="矩形 13">
              <a:extLst>
                <a:ext uri="{FF2B5EF4-FFF2-40B4-BE49-F238E27FC236}">
                  <a16:creationId xmlns:a16="http://schemas.microsoft.com/office/drawing/2014/main" id="{0F7F976C-16D5-4D99-9DA3-F8F819C590B4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32" name="矩形 13">
              <a:extLst>
                <a:ext uri="{FF2B5EF4-FFF2-40B4-BE49-F238E27FC236}">
                  <a16:creationId xmlns:a16="http://schemas.microsoft.com/office/drawing/2014/main" id="{4EC6DA09-C57C-4765-A960-35241AA4D022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33" name="矩形 13">
              <a:extLst>
                <a:ext uri="{FF2B5EF4-FFF2-40B4-BE49-F238E27FC236}">
                  <a16:creationId xmlns:a16="http://schemas.microsoft.com/office/drawing/2014/main" id="{3736C081-FFDA-43EE-911D-ED4CF1851E34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78" rtl="0" eaLnBrk="1" fontAlgn="auto" latinLnBrk="0" hangingPunct="1">
                <a:lnSpc>
                  <a:spcPts val="6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34" name="矩形 13">
              <a:extLst>
                <a:ext uri="{FF2B5EF4-FFF2-40B4-BE49-F238E27FC236}">
                  <a16:creationId xmlns:a16="http://schemas.microsoft.com/office/drawing/2014/main" id="{D7DD5600-BA67-4684-B31D-5D51E301D21F}"/>
                </a:ext>
              </a:extLst>
            </p:cNvPr>
            <p:cNvSpPr/>
            <p:nvPr/>
          </p:nvSpPr>
          <p:spPr>
            <a:xfrm>
              <a:off x="7811114" y="3415851"/>
              <a:ext cx="791510" cy="664398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5" name="矩形 13">
              <a:extLst>
                <a:ext uri="{FF2B5EF4-FFF2-40B4-BE49-F238E27FC236}">
                  <a16:creationId xmlns:a16="http://schemas.microsoft.com/office/drawing/2014/main" id="{BC3B5A4E-6C32-4D05-AF55-90FF1B2229EE}"/>
                </a:ext>
              </a:extLst>
            </p:cNvPr>
            <p:cNvSpPr/>
            <p:nvPr/>
          </p:nvSpPr>
          <p:spPr>
            <a:xfrm>
              <a:off x="7820945" y="4866463"/>
              <a:ext cx="791510" cy="664398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36" name="矩形 13">
              <a:extLst>
                <a:ext uri="{FF2B5EF4-FFF2-40B4-BE49-F238E27FC236}">
                  <a16:creationId xmlns:a16="http://schemas.microsoft.com/office/drawing/2014/main" id="{F88EA78A-8884-4B54-B1DC-FEF751661CA0}"/>
                </a:ext>
              </a:extLst>
            </p:cNvPr>
            <p:cNvSpPr/>
            <p:nvPr/>
          </p:nvSpPr>
          <p:spPr>
            <a:xfrm>
              <a:off x="7818707" y="4134866"/>
              <a:ext cx="791510" cy="664398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37" name="矩形 13">
              <a:extLst>
                <a:ext uri="{FF2B5EF4-FFF2-40B4-BE49-F238E27FC236}">
                  <a16:creationId xmlns:a16="http://schemas.microsoft.com/office/drawing/2014/main" id="{30D76234-18BB-4226-91F3-496541FDB173}"/>
                </a:ext>
              </a:extLst>
            </p:cNvPr>
            <p:cNvSpPr/>
            <p:nvPr/>
          </p:nvSpPr>
          <p:spPr>
            <a:xfrm>
              <a:off x="7823691" y="5596166"/>
              <a:ext cx="791510" cy="664398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190/233/238</a:t>
              </a:r>
            </a:p>
          </p:txBody>
        </p:sp>
        <p:sp>
          <p:nvSpPr>
            <p:cNvPr id="38" name="矩形 13">
              <a:extLst>
                <a:ext uri="{FF2B5EF4-FFF2-40B4-BE49-F238E27FC236}">
                  <a16:creationId xmlns:a16="http://schemas.microsoft.com/office/drawing/2014/main" id="{742E2780-BD5E-413B-9BE8-96DFFF8B5649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39" name="矩形 13">
              <a:extLst>
                <a:ext uri="{FF2B5EF4-FFF2-40B4-BE49-F238E27FC236}">
                  <a16:creationId xmlns:a16="http://schemas.microsoft.com/office/drawing/2014/main" id="{89CF25F0-ACC6-4FC4-948A-BCE4A802FD25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40" name="矩形 13">
              <a:extLst>
                <a:ext uri="{FF2B5EF4-FFF2-40B4-BE49-F238E27FC236}">
                  <a16:creationId xmlns:a16="http://schemas.microsoft.com/office/drawing/2014/main" id="{8D2EF9D5-EBCD-490B-B8B9-645C824F91AD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0/0/0</a:t>
              </a:r>
            </a:p>
          </p:txBody>
        </p:sp>
        <p:sp>
          <p:nvSpPr>
            <p:cNvPr id="41" name="矩形 13">
              <a:extLst>
                <a:ext uri="{FF2B5EF4-FFF2-40B4-BE49-F238E27FC236}">
                  <a16:creationId xmlns:a16="http://schemas.microsoft.com/office/drawing/2014/main" id="{0286ECB3-922D-48DD-AFE7-9C6E9060C6F2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42" name="矩形 13">
              <a:extLst>
                <a:ext uri="{FF2B5EF4-FFF2-40B4-BE49-F238E27FC236}">
                  <a16:creationId xmlns:a16="http://schemas.microsoft.com/office/drawing/2014/main" id="{26843338-C6AE-4E98-95C9-EA160CC2B30A}"/>
                </a:ext>
              </a:extLst>
            </p:cNvPr>
            <p:cNvSpPr/>
            <p:nvPr userDrawn="1"/>
          </p:nvSpPr>
          <p:spPr>
            <a:xfrm>
              <a:off x="6445335" y="6324024"/>
              <a:ext cx="513579" cy="664398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43" name="矩形 13">
              <a:extLst>
                <a:ext uri="{FF2B5EF4-FFF2-40B4-BE49-F238E27FC236}">
                  <a16:creationId xmlns:a16="http://schemas.microsoft.com/office/drawing/2014/main" id="{F41285F2-C98F-44DF-810D-AFDA8C2F7252}"/>
                </a:ext>
              </a:extLst>
            </p:cNvPr>
            <p:cNvSpPr/>
            <p:nvPr userDrawn="1"/>
          </p:nvSpPr>
          <p:spPr>
            <a:xfrm>
              <a:off x="7003279" y="6324024"/>
              <a:ext cx="513579" cy="664398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44" name="矩形 13">
              <a:extLst>
                <a:ext uri="{FF2B5EF4-FFF2-40B4-BE49-F238E27FC236}">
                  <a16:creationId xmlns:a16="http://schemas.microsoft.com/office/drawing/2014/main" id="{316800BF-7174-4B63-B993-7FF3F38E786A}"/>
                </a:ext>
              </a:extLst>
            </p:cNvPr>
            <p:cNvSpPr/>
            <p:nvPr userDrawn="1"/>
          </p:nvSpPr>
          <p:spPr>
            <a:xfrm>
              <a:off x="7551547" y="6324024"/>
              <a:ext cx="513579" cy="664398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45" name="矩形 13">
              <a:extLst>
                <a:ext uri="{FF2B5EF4-FFF2-40B4-BE49-F238E27FC236}">
                  <a16:creationId xmlns:a16="http://schemas.microsoft.com/office/drawing/2014/main" id="{E3AFA688-A359-4262-BC4E-961D2F75A295}"/>
                </a:ext>
              </a:extLst>
            </p:cNvPr>
            <p:cNvSpPr/>
            <p:nvPr userDrawn="1"/>
          </p:nvSpPr>
          <p:spPr>
            <a:xfrm>
              <a:off x="8098559" y="6324024"/>
              <a:ext cx="513579" cy="66439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9056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33" r:id="rId1"/>
    <p:sldLayoutId id="2147485083" r:id="rId2"/>
  </p:sldLayoutIdLst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56" userDrawn="1">
          <p15:clr>
            <a:srgbClr val="F26B43"/>
          </p15:clr>
        </p15:guide>
        <p15:guide id="2" pos="7216" userDrawn="1">
          <p15:clr>
            <a:srgbClr val="F26B43"/>
          </p15:clr>
        </p15:guide>
        <p15:guide id="3" orient="horz" pos="560" userDrawn="1">
          <p15:clr>
            <a:srgbClr val="F26B43"/>
          </p15:clr>
        </p15:guide>
        <p15:guide id="4" orient="horz" pos="728" userDrawn="1">
          <p15:clr>
            <a:srgbClr val="F26B43"/>
          </p15:clr>
        </p15:guide>
        <p15:guide id="5" orient="horz" pos="3968" userDrawn="1">
          <p15:clr>
            <a:srgbClr val="F26B43"/>
          </p15:clr>
        </p15:guide>
        <p15:guide id="6" orient="horz" pos="3800" userDrawn="1">
          <p15:clr>
            <a:srgbClr val="F26B43"/>
          </p15:clr>
        </p15:guide>
      </p15:sldGuideLst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图片 45">
            <a:extLst>
              <a:ext uri="{FF2B5EF4-FFF2-40B4-BE49-F238E27FC236}">
                <a16:creationId xmlns:a16="http://schemas.microsoft.com/office/drawing/2014/main" id="{5DA56BEE-DFA7-442F-9C20-57FEE64A873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11" y="0"/>
            <a:ext cx="12191140" cy="6858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28543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1D1D1B"/>
                </a:solidFill>
                <a:cs typeface="Arial" panose="020B0604020202020204" pitchFamily="34" charset="0"/>
              </a:rPr>
              <a:t>Huawei Proprietary – Restricted Distribu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cs typeface="Arial" panose="020B0604020202020204" pitchFamily="34" charset="0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  <p:grpSp>
        <p:nvGrpSpPr>
          <p:cNvPr id="5" name="Group 87">
            <a:extLst>
              <a:ext uri="{FF2B5EF4-FFF2-40B4-BE49-F238E27FC236}">
                <a16:creationId xmlns:a16="http://schemas.microsoft.com/office/drawing/2014/main" id="{CBB91E99-E194-4FBA-98E8-C8C541AFAD7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0" y="2625389"/>
            <a:ext cx="1967973" cy="4233515"/>
            <a:chOff x="5343885" y="-48857"/>
            <a:chExt cx="3271316" cy="7037279"/>
          </a:xfrm>
        </p:grpSpPr>
        <p:sp>
          <p:nvSpPr>
            <p:cNvPr id="6" name="矩形 13">
              <a:extLst>
                <a:ext uri="{FF2B5EF4-FFF2-40B4-BE49-F238E27FC236}">
                  <a16:creationId xmlns:a16="http://schemas.microsoft.com/office/drawing/2014/main" id="{87062D29-4B3D-43C6-B2F4-87266745F218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7" name="文本框 15">
              <a:extLst>
                <a:ext uri="{FF2B5EF4-FFF2-40B4-BE49-F238E27FC236}">
                  <a16:creationId xmlns:a16="http://schemas.microsoft.com/office/drawing/2014/main" id="{CF04794B-0451-4AF0-8B15-8E5F7B62486B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8" name="矩形 13">
              <a:extLst>
                <a:ext uri="{FF2B5EF4-FFF2-40B4-BE49-F238E27FC236}">
                  <a16:creationId xmlns:a16="http://schemas.microsoft.com/office/drawing/2014/main" id="{0DBE7A85-19E5-4416-A13E-6FDDFBF0D93F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" name="矩形 13">
              <a:extLst>
                <a:ext uri="{FF2B5EF4-FFF2-40B4-BE49-F238E27FC236}">
                  <a16:creationId xmlns:a16="http://schemas.microsoft.com/office/drawing/2014/main" id="{D0D35BE3-9F1D-49FC-BF5E-47C6902D7165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10" name="矩形 13">
              <a:extLst>
                <a:ext uri="{FF2B5EF4-FFF2-40B4-BE49-F238E27FC236}">
                  <a16:creationId xmlns:a16="http://schemas.microsoft.com/office/drawing/2014/main" id="{A556DFAA-1C6B-4B48-AC0A-CF59626865DB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11" name="矩形 13">
              <a:extLst>
                <a:ext uri="{FF2B5EF4-FFF2-40B4-BE49-F238E27FC236}">
                  <a16:creationId xmlns:a16="http://schemas.microsoft.com/office/drawing/2014/main" id="{425D8B17-2E6F-4DA0-98F8-4FA5B19A7F99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12" name="矩形 13">
              <a:extLst>
                <a:ext uri="{FF2B5EF4-FFF2-40B4-BE49-F238E27FC236}">
                  <a16:creationId xmlns:a16="http://schemas.microsoft.com/office/drawing/2014/main" id="{18E165AF-76C3-4826-9D25-C14CD69C9C28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13" name="矩形 13">
              <a:extLst>
                <a:ext uri="{FF2B5EF4-FFF2-40B4-BE49-F238E27FC236}">
                  <a16:creationId xmlns:a16="http://schemas.microsoft.com/office/drawing/2014/main" id="{7402DD78-561C-4E4A-9131-56F32E913BA0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5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14" name="文本框 15">
              <a:extLst>
                <a:ext uri="{FF2B5EF4-FFF2-40B4-BE49-F238E27FC236}">
                  <a16:creationId xmlns:a16="http://schemas.microsoft.com/office/drawing/2014/main" id="{7BE7850B-DB89-4939-8B9F-08E87A592B05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15" name="矩形 13">
              <a:extLst>
                <a:ext uri="{FF2B5EF4-FFF2-40B4-BE49-F238E27FC236}">
                  <a16:creationId xmlns:a16="http://schemas.microsoft.com/office/drawing/2014/main" id="{4821ECEB-5DCD-4780-8BA6-E48654F5DB65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6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16" name="矩形 13">
              <a:extLst>
                <a:ext uri="{FF2B5EF4-FFF2-40B4-BE49-F238E27FC236}">
                  <a16:creationId xmlns:a16="http://schemas.microsoft.com/office/drawing/2014/main" id="{648D93AC-ED6F-4DF5-A58B-A8DB369F7E3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7" name="矩形 13">
              <a:extLst>
                <a:ext uri="{FF2B5EF4-FFF2-40B4-BE49-F238E27FC236}">
                  <a16:creationId xmlns:a16="http://schemas.microsoft.com/office/drawing/2014/main" id="{E3E6EC3D-1867-4ECC-9F16-D29D3271CF3A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8" name="矩形 13">
              <a:extLst>
                <a:ext uri="{FF2B5EF4-FFF2-40B4-BE49-F238E27FC236}">
                  <a16:creationId xmlns:a16="http://schemas.microsoft.com/office/drawing/2014/main" id="{F5E34584-5D8D-4E4C-8F52-24B9319EC2F4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9" name="矩形 13">
              <a:extLst>
                <a:ext uri="{FF2B5EF4-FFF2-40B4-BE49-F238E27FC236}">
                  <a16:creationId xmlns:a16="http://schemas.microsoft.com/office/drawing/2014/main" id="{861F380C-7EE2-4915-A1B4-2DEC2F665DCD}"/>
                </a:ext>
              </a:extLst>
            </p:cNvPr>
            <p:cNvSpPr/>
            <p:nvPr userDrawn="1"/>
          </p:nvSpPr>
          <p:spPr>
            <a:xfrm>
              <a:off x="6184543" y="4866463"/>
              <a:ext cx="791510" cy="664398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20" name="矩形 13">
              <a:extLst>
                <a:ext uri="{FF2B5EF4-FFF2-40B4-BE49-F238E27FC236}">
                  <a16:creationId xmlns:a16="http://schemas.microsoft.com/office/drawing/2014/main" id="{FB920400-BC53-45C0-8624-91B8E82BC5D2}"/>
                </a:ext>
              </a:extLst>
            </p:cNvPr>
            <p:cNvSpPr/>
            <p:nvPr userDrawn="1"/>
          </p:nvSpPr>
          <p:spPr>
            <a:xfrm>
              <a:off x="6182308" y="4134866"/>
              <a:ext cx="791510" cy="664398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21" name="矩形 13">
              <a:extLst>
                <a:ext uri="{FF2B5EF4-FFF2-40B4-BE49-F238E27FC236}">
                  <a16:creationId xmlns:a16="http://schemas.microsoft.com/office/drawing/2014/main" id="{31078EDC-4A9F-43A4-9BA9-907569D85C92}"/>
                </a:ext>
              </a:extLst>
            </p:cNvPr>
            <p:cNvSpPr/>
            <p:nvPr userDrawn="1"/>
          </p:nvSpPr>
          <p:spPr>
            <a:xfrm>
              <a:off x="6177324" y="5596166"/>
              <a:ext cx="791510" cy="664398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22" name="矩形 13">
              <a:extLst>
                <a:ext uri="{FF2B5EF4-FFF2-40B4-BE49-F238E27FC236}">
                  <a16:creationId xmlns:a16="http://schemas.microsoft.com/office/drawing/2014/main" id="{BF5ECD26-9AAC-4B7D-B7B9-5D3E0A2E9DA4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23" name="矩形 13">
              <a:extLst>
                <a:ext uri="{FF2B5EF4-FFF2-40B4-BE49-F238E27FC236}">
                  <a16:creationId xmlns:a16="http://schemas.microsoft.com/office/drawing/2014/main" id="{9D857771-ACBB-41B6-8066-2ED34322E55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24" name="矩形 13">
              <a:extLst>
                <a:ext uri="{FF2B5EF4-FFF2-40B4-BE49-F238E27FC236}">
                  <a16:creationId xmlns:a16="http://schemas.microsoft.com/office/drawing/2014/main" id="{E5C2B2E4-7360-4919-AFF0-3278A14D20A3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25" name="矩形 13">
              <a:extLst>
                <a:ext uri="{FF2B5EF4-FFF2-40B4-BE49-F238E27FC236}">
                  <a16:creationId xmlns:a16="http://schemas.microsoft.com/office/drawing/2014/main" id="{205FF6C6-9AD5-4A14-97CD-DCA40CA434F5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26" name="矩形 13">
              <a:extLst>
                <a:ext uri="{FF2B5EF4-FFF2-40B4-BE49-F238E27FC236}">
                  <a16:creationId xmlns:a16="http://schemas.microsoft.com/office/drawing/2014/main" id="{569590BE-ACA3-4165-A3C8-EF0EC6DE1F37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27" name="矩形 13">
              <a:extLst>
                <a:ext uri="{FF2B5EF4-FFF2-40B4-BE49-F238E27FC236}">
                  <a16:creationId xmlns:a16="http://schemas.microsoft.com/office/drawing/2014/main" id="{A948AC6C-3900-47EE-9D2B-DAAC34E5977E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28" name="矩形 13">
              <a:extLst>
                <a:ext uri="{FF2B5EF4-FFF2-40B4-BE49-F238E27FC236}">
                  <a16:creationId xmlns:a16="http://schemas.microsoft.com/office/drawing/2014/main" id="{00E044ED-DB0C-4B5B-AA77-2ED06094E771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29" name="矩形 13">
              <a:extLst>
                <a:ext uri="{FF2B5EF4-FFF2-40B4-BE49-F238E27FC236}">
                  <a16:creationId xmlns:a16="http://schemas.microsoft.com/office/drawing/2014/main" id="{AF4BCC50-7A8D-4CF9-9D32-45E989EE069A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30" name="矩形 13">
              <a:extLst>
                <a:ext uri="{FF2B5EF4-FFF2-40B4-BE49-F238E27FC236}">
                  <a16:creationId xmlns:a16="http://schemas.microsoft.com/office/drawing/2014/main" id="{CE13758F-40BE-46B4-B658-12AE1F130F54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31" name="矩形 13">
              <a:extLst>
                <a:ext uri="{FF2B5EF4-FFF2-40B4-BE49-F238E27FC236}">
                  <a16:creationId xmlns:a16="http://schemas.microsoft.com/office/drawing/2014/main" id="{0F7F976C-16D5-4D99-9DA3-F8F819C590B4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32" name="矩形 13">
              <a:extLst>
                <a:ext uri="{FF2B5EF4-FFF2-40B4-BE49-F238E27FC236}">
                  <a16:creationId xmlns:a16="http://schemas.microsoft.com/office/drawing/2014/main" id="{4EC6DA09-C57C-4765-A960-35241AA4D022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33" name="矩形 13">
              <a:extLst>
                <a:ext uri="{FF2B5EF4-FFF2-40B4-BE49-F238E27FC236}">
                  <a16:creationId xmlns:a16="http://schemas.microsoft.com/office/drawing/2014/main" id="{3736C081-FFDA-43EE-911D-ED4CF1851E34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34" name="矩形 13">
              <a:extLst>
                <a:ext uri="{FF2B5EF4-FFF2-40B4-BE49-F238E27FC236}">
                  <a16:creationId xmlns:a16="http://schemas.microsoft.com/office/drawing/2014/main" id="{D7DD5600-BA67-4684-B31D-5D51E301D21F}"/>
                </a:ext>
              </a:extLst>
            </p:cNvPr>
            <p:cNvSpPr/>
            <p:nvPr/>
          </p:nvSpPr>
          <p:spPr>
            <a:xfrm>
              <a:off x="7811114" y="3415851"/>
              <a:ext cx="791510" cy="664398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35" name="矩形 13">
              <a:extLst>
                <a:ext uri="{FF2B5EF4-FFF2-40B4-BE49-F238E27FC236}">
                  <a16:creationId xmlns:a16="http://schemas.microsoft.com/office/drawing/2014/main" id="{BC3B5A4E-6C32-4D05-AF55-90FF1B2229EE}"/>
                </a:ext>
              </a:extLst>
            </p:cNvPr>
            <p:cNvSpPr/>
            <p:nvPr/>
          </p:nvSpPr>
          <p:spPr>
            <a:xfrm>
              <a:off x="7820945" y="4866463"/>
              <a:ext cx="791510" cy="664398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36" name="矩形 13">
              <a:extLst>
                <a:ext uri="{FF2B5EF4-FFF2-40B4-BE49-F238E27FC236}">
                  <a16:creationId xmlns:a16="http://schemas.microsoft.com/office/drawing/2014/main" id="{F88EA78A-8884-4B54-B1DC-FEF751661CA0}"/>
                </a:ext>
              </a:extLst>
            </p:cNvPr>
            <p:cNvSpPr/>
            <p:nvPr/>
          </p:nvSpPr>
          <p:spPr>
            <a:xfrm>
              <a:off x="7818707" y="4134866"/>
              <a:ext cx="791510" cy="664398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37" name="矩形 13">
              <a:extLst>
                <a:ext uri="{FF2B5EF4-FFF2-40B4-BE49-F238E27FC236}">
                  <a16:creationId xmlns:a16="http://schemas.microsoft.com/office/drawing/2014/main" id="{30D76234-18BB-4226-91F3-496541FDB173}"/>
                </a:ext>
              </a:extLst>
            </p:cNvPr>
            <p:cNvSpPr/>
            <p:nvPr/>
          </p:nvSpPr>
          <p:spPr>
            <a:xfrm>
              <a:off x="7823691" y="5596166"/>
              <a:ext cx="791510" cy="664398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190/233/238</a:t>
              </a:r>
            </a:p>
          </p:txBody>
        </p:sp>
        <p:sp>
          <p:nvSpPr>
            <p:cNvPr id="38" name="矩形 13">
              <a:extLst>
                <a:ext uri="{FF2B5EF4-FFF2-40B4-BE49-F238E27FC236}">
                  <a16:creationId xmlns:a16="http://schemas.microsoft.com/office/drawing/2014/main" id="{742E2780-BD5E-413B-9BE8-96DFFF8B5649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39" name="矩形 13">
              <a:extLst>
                <a:ext uri="{FF2B5EF4-FFF2-40B4-BE49-F238E27FC236}">
                  <a16:creationId xmlns:a16="http://schemas.microsoft.com/office/drawing/2014/main" id="{89CF25F0-ACC6-4FC4-948A-BCE4A802FD25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40" name="矩形 13">
              <a:extLst>
                <a:ext uri="{FF2B5EF4-FFF2-40B4-BE49-F238E27FC236}">
                  <a16:creationId xmlns:a16="http://schemas.microsoft.com/office/drawing/2014/main" id="{8D2EF9D5-EBCD-490B-B8B9-645C824F91AD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0/0/0</a:t>
              </a:r>
            </a:p>
          </p:txBody>
        </p:sp>
        <p:sp>
          <p:nvSpPr>
            <p:cNvPr id="41" name="矩形 13">
              <a:extLst>
                <a:ext uri="{FF2B5EF4-FFF2-40B4-BE49-F238E27FC236}">
                  <a16:creationId xmlns:a16="http://schemas.microsoft.com/office/drawing/2014/main" id="{0286ECB3-922D-48DD-AFE7-9C6E9060C6F2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42" name="矩形 13">
              <a:extLst>
                <a:ext uri="{FF2B5EF4-FFF2-40B4-BE49-F238E27FC236}">
                  <a16:creationId xmlns:a16="http://schemas.microsoft.com/office/drawing/2014/main" id="{26843338-C6AE-4E98-95C9-EA160CC2B30A}"/>
                </a:ext>
              </a:extLst>
            </p:cNvPr>
            <p:cNvSpPr/>
            <p:nvPr userDrawn="1"/>
          </p:nvSpPr>
          <p:spPr>
            <a:xfrm>
              <a:off x="6445335" y="6324024"/>
              <a:ext cx="513579" cy="664398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43" name="矩形 13">
              <a:extLst>
                <a:ext uri="{FF2B5EF4-FFF2-40B4-BE49-F238E27FC236}">
                  <a16:creationId xmlns:a16="http://schemas.microsoft.com/office/drawing/2014/main" id="{F41285F2-C98F-44DF-810D-AFDA8C2F7252}"/>
                </a:ext>
              </a:extLst>
            </p:cNvPr>
            <p:cNvSpPr/>
            <p:nvPr userDrawn="1"/>
          </p:nvSpPr>
          <p:spPr>
            <a:xfrm>
              <a:off x="7003279" y="6324024"/>
              <a:ext cx="513579" cy="664398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44" name="矩形 13">
              <a:extLst>
                <a:ext uri="{FF2B5EF4-FFF2-40B4-BE49-F238E27FC236}">
                  <a16:creationId xmlns:a16="http://schemas.microsoft.com/office/drawing/2014/main" id="{316800BF-7174-4B63-B993-7FF3F38E786A}"/>
                </a:ext>
              </a:extLst>
            </p:cNvPr>
            <p:cNvSpPr/>
            <p:nvPr userDrawn="1"/>
          </p:nvSpPr>
          <p:spPr>
            <a:xfrm>
              <a:off x="7551547" y="6324024"/>
              <a:ext cx="513579" cy="664398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45" name="矩形 13">
              <a:extLst>
                <a:ext uri="{FF2B5EF4-FFF2-40B4-BE49-F238E27FC236}">
                  <a16:creationId xmlns:a16="http://schemas.microsoft.com/office/drawing/2014/main" id="{E3AFA688-A359-4262-BC4E-961D2F75A295}"/>
                </a:ext>
              </a:extLst>
            </p:cNvPr>
            <p:cNvSpPr/>
            <p:nvPr userDrawn="1"/>
          </p:nvSpPr>
          <p:spPr>
            <a:xfrm>
              <a:off x="8098559" y="6324024"/>
              <a:ext cx="513579" cy="66439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5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22246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77" r:id="rId1"/>
  </p:sldLayoutIdLst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62">
          <p15:clr>
            <a:srgbClr val="F26B43"/>
          </p15:clr>
        </p15:guide>
        <p15:guide id="2" pos="7216">
          <p15:clr>
            <a:srgbClr val="F26B43"/>
          </p15:clr>
        </p15:guide>
        <p15:guide id="3" orient="horz" pos="550">
          <p15:clr>
            <a:srgbClr val="F26B43"/>
          </p15:clr>
        </p15:guide>
        <p15:guide id="4" orient="horz" pos="731">
          <p15:clr>
            <a:srgbClr val="F26B43"/>
          </p15:clr>
        </p15:guide>
        <p15:guide id="5" orient="horz" pos="3974">
          <p15:clr>
            <a:srgbClr val="F26B43"/>
          </p15:clr>
        </p15:guide>
        <p15:guide id="6" orient="horz" pos="3816">
          <p15:clr>
            <a:srgbClr val="F26B43"/>
          </p15:clr>
        </p15:guide>
      </p15:sldGuideLst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图片 45">
            <a:extLst>
              <a:ext uri="{FF2B5EF4-FFF2-40B4-BE49-F238E27FC236}">
                <a16:creationId xmlns:a16="http://schemas.microsoft.com/office/drawing/2014/main" id="{5DA56BEE-DFA7-442F-9C20-57FEE64A873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11" y="0"/>
            <a:ext cx="12191140" cy="6858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28543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1D1D1B"/>
                </a:solidFill>
                <a:cs typeface="Arial" panose="020B0604020202020204" pitchFamily="34" charset="0"/>
              </a:rPr>
              <a:t>Huawei Proprietary – Restricted Distribu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cs typeface="Arial" panose="020B0604020202020204" pitchFamily="34" charset="0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  <p:grpSp>
        <p:nvGrpSpPr>
          <p:cNvPr id="5" name="Group 87">
            <a:extLst>
              <a:ext uri="{FF2B5EF4-FFF2-40B4-BE49-F238E27FC236}">
                <a16:creationId xmlns:a16="http://schemas.microsoft.com/office/drawing/2014/main" id="{CBB91E99-E194-4FBA-98E8-C8C541AFAD7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0" y="2625389"/>
            <a:ext cx="1967973" cy="4233515"/>
            <a:chOff x="5343885" y="-48857"/>
            <a:chExt cx="3271316" cy="7037279"/>
          </a:xfrm>
        </p:grpSpPr>
        <p:sp>
          <p:nvSpPr>
            <p:cNvPr id="6" name="矩形 13">
              <a:extLst>
                <a:ext uri="{FF2B5EF4-FFF2-40B4-BE49-F238E27FC236}">
                  <a16:creationId xmlns:a16="http://schemas.microsoft.com/office/drawing/2014/main" id="{87062D29-4B3D-43C6-B2F4-87266745F218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7" name="文本框 15">
              <a:extLst>
                <a:ext uri="{FF2B5EF4-FFF2-40B4-BE49-F238E27FC236}">
                  <a16:creationId xmlns:a16="http://schemas.microsoft.com/office/drawing/2014/main" id="{CF04794B-0451-4AF0-8B15-8E5F7B62486B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8" name="矩形 13">
              <a:extLst>
                <a:ext uri="{FF2B5EF4-FFF2-40B4-BE49-F238E27FC236}">
                  <a16:creationId xmlns:a16="http://schemas.microsoft.com/office/drawing/2014/main" id="{0DBE7A85-19E5-4416-A13E-6FDDFBF0D93F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" name="矩形 13">
              <a:extLst>
                <a:ext uri="{FF2B5EF4-FFF2-40B4-BE49-F238E27FC236}">
                  <a16:creationId xmlns:a16="http://schemas.microsoft.com/office/drawing/2014/main" id="{D0D35BE3-9F1D-49FC-BF5E-47C6902D7165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10" name="矩形 13">
              <a:extLst>
                <a:ext uri="{FF2B5EF4-FFF2-40B4-BE49-F238E27FC236}">
                  <a16:creationId xmlns:a16="http://schemas.microsoft.com/office/drawing/2014/main" id="{A556DFAA-1C6B-4B48-AC0A-CF59626865DB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11" name="矩形 13">
              <a:extLst>
                <a:ext uri="{FF2B5EF4-FFF2-40B4-BE49-F238E27FC236}">
                  <a16:creationId xmlns:a16="http://schemas.microsoft.com/office/drawing/2014/main" id="{425D8B17-2E6F-4DA0-98F8-4FA5B19A7F99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12" name="矩形 13">
              <a:extLst>
                <a:ext uri="{FF2B5EF4-FFF2-40B4-BE49-F238E27FC236}">
                  <a16:creationId xmlns:a16="http://schemas.microsoft.com/office/drawing/2014/main" id="{18E165AF-76C3-4826-9D25-C14CD69C9C28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13" name="矩形 13">
              <a:extLst>
                <a:ext uri="{FF2B5EF4-FFF2-40B4-BE49-F238E27FC236}">
                  <a16:creationId xmlns:a16="http://schemas.microsoft.com/office/drawing/2014/main" id="{7402DD78-561C-4E4A-9131-56F32E913BA0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5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14" name="文本框 15">
              <a:extLst>
                <a:ext uri="{FF2B5EF4-FFF2-40B4-BE49-F238E27FC236}">
                  <a16:creationId xmlns:a16="http://schemas.microsoft.com/office/drawing/2014/main" id="{7BE7850B-DB89-4939-8B9F-08E87A592B05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15" name="矩形 13">
              <a:extLst>
                <a:ext uri="{FF2B5EF4-FFF2-40B4-BE49-F238E27FC236}">
                  <a16:creationId xmlns:a16="http://schemas.microsoft.com/office/drawing/2014/main" id="{4821ECEB-5DCD-4780-8BA6-E48654F5DB65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6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16" name="矩形 13">
              <a:extLst>
                <a:ext uri="{FF2B5EF4-FFF2-40B4-BE49-F238E27FC236}">
                  <a16:creationId xmlns:a16="http://schemas.microsoft.com/office/drawing/2014/main" id="{648D93AC-ED6F-4DF5-A58B-A8DB369F7E3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7" name="矩形 13">
              <a:extLst>
                <a:ext uri="{FF2B5EF4-FFF2-40B4-BE49-F238E27FC236}">
                  <a16:creationId xmlns:a16="http://schemas.microsoft.com/office/drawing/2014/main" id="{E3E6EC3D-1867-4ECC-9F16-D29D3271CF3A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8" name="矩形 13">
              <a:extLst>
                <a:ext uri="{FF2B5EF4-FFF2-40B4-BE49-F238E27FC236}">
                  <a16:creationId xmlns:a16="http://schemas.microsoft.com/office/drawing/2014/main" id="{F5E34584-5D8D-4E4C-8F52-24B9319EC2F4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9" name="矩形 13">
              <a:extLst>
                <a:ext uri="{FF2B5EF4-FFF2-40B4-BE49-F238E27FC236}">
                  <a16:creationId xmlns:a16="http://schemas.microsoft.com/office/drawing/2014/main" id="{861F380C-7EE2-4915-A1B4-2DEC2F665DCD}"/>
                </a:ext>
              </a:extLst>
            </p:cNvPr>
            <p:cNvSpPr/>
            <p:nvPr userDrawn="1"/>
          </p:nvSpPr>
          <p:spPr>
            <a:xfrm>
              <a:off x="6184543" y="4866463"/>
              <a:ext cx="791510" cy="664398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20" name="矩形 13">
              <a:extLst>
                <a:ext uri="{FF2B5EF4-FFF2-40B4-BE49-F238E27FC236}">
                  <a16:creationId xmlns:a16="http://schemas.microsoft.com/office/drawing/2014/main" id="{FB920400-BC53-45C0-8624-91B8E82BC5D2}"/>
                </a:ext>
              </a:extLst>
            </p:cNvPr>
            <p:cNvSpPr/>
            <p:nvPr userDrawn="1"/>
          </p:nvSpPr>
          <p:spPr>
            <a:xfrm>
              <a:off x="6182308" y="4134866"/>
              <a:ext cx="791510" cy="664398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21" name="矩形 13">
              <a:extLst>
                <a:ext uri="{FF2B5EF4-FFF2-40B4-BE49-F238E27FC236}">
                  <a16:creationId xmlns:a16="http://schemas.microsoft.com/office/drawing/2014/main" id="{31078EDC-4A9F-43A4-9BA9-907569D85C92}"/>
                </a:ext>
              </a:extLst>
            </p:cNvPr>
            <p:cNvSpPr/>
            <p:nvPr userDrawn="1"/>
          </p:nvSpPr>
          <p:spPr>
            <a:xfrm>
              <a:off x="6177324" y="5596166"/>
              <a:ext cx="791510" cy="664398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22" name="矩形 13">
              <a:extLst>
                <a:ext uri="{FF2B5EF4-FFF2-40B4-BE49-F238E27FC236}">
                  <a16:creationId xmlns:a16="http://schemas.microsoft.com/office/drawing/2014/main" id="{BF5ECD26-9AAC-4B7D-B7B9-5D3E0A2E9DA4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23" name="矩形 13">
              <a:extLst>
                <a:ext uri="{FF2B5EF4-FFF2-40B4-BE49-F238E27FC236}">
                  <a16:creationId xmlns:a16="http://schemas.microsoft.com/office/drawing/2014/main" id="{9D857771-ACBB-41B6-8066-2ED34322E55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24" name="矩形 13">
              <a:extLst>
                <a:ext uri="{FF2B5EF4-FFF2-40B4-BE49-F238E27FC236}">
                  <a16:creationId xmlns:a16="http://schemas.microsoft.com/office/drawing/2014/main" id="{E5C2B2E4-7360-4919-AFF0-3278A14D20A3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25" name="矩形 13">
              <a:extLst>
                <a:ext uri="{FF2B5EF4-FFF2-40B4-BE49-F238E27FC236}">
                  <a16:creationId xmlns:a16="http://schemas.microsoft.com/office/drawing/2014/main" id="{205FF6C6-9AD5-4A14-97CD-DCA40CA434F5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26" name="矩形 13">
              <a:extLst>
                <a:ext uri="{FF2B5EF4-FFF2-40B4-BE49-F238E27FC236}">
                  <a16:creationId xmlns:a16="http://schemas.microsoft.com/office/drawing/2014/main" id="{569590BE-ACA3-4165-A3C8-EF0EC6DE1F37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27" name="矩形 13">
              <a:extLst>
                <a:ext uri="{FF2B5EF4-FFF2-40B4-BE49-F238E27FC236}">
                  <a16:creationId xmlns:a16="http://schemas.microsoft.com/office/drawing/2014/main" id="{A948AC6C-3900-47EE-9D2B-DAAC34E5977E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28" name="矩形 13">
              <a:extLst>
                <a:ext uri="{FF2B5EF4-FFF2-40B4-BE49-F238E27FC236}">
                  <a16:creationId xmlns:a16="http://schemas.microsoft.com/office/drawing/2014/main" id="{00E044ED-DB0C-4B5B-AA77-2ED06094E771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29" name="矩形 13">
              <a:extLst>
                <a:ext uri="{FF2B5EF4-FFF2-40B4-BE49-F238E27FC236}">
                  <a16:creationId xmlns:a16="http://schemas.microsoft.com/office/drawing/2014/main" id="{AF4BCC50-7A8D-4CF9-9D32-45E989EE069A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30" name="矩形 13">
              <a:extLst>
                <a:ext uri="{FF2B5EF4-FFF2-40B4-BE49-F238E27FC236}">
                  <a16:creationId xmlns:a16="http://schemas.microsoft.com/office/drawing/2014/main" id="{CE13758F-40BE-46B4-B658-12AE1F130F54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31" name="矩形 13">
              <a:extLst>
                <a:ext uri="{FF2B5EF4-FFF2-40B4-BE49-F238E27FC236}">
                  <a16:creationId xmlns:a16="http://schemas.microsoft.com/office/drawing/2014/main" id="{0F7F976C-16D5-4D99-9DA3-F8F819C590B4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32" name="矩形 13">
              <a:extLst>
                <a:ext uri="{FF2B5EF4-FFF2-40B4-BE49-F238E27FC236}">
                  <a16:creationId xmlns:a16="http://schemas.microsoft.com/office/drawing/2014/main" id="{4EC6DA09-C57C-4765-A960-35241AA4D022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33" name="矩形 13">
              <a:extLst>
                <a:ext uri="{FF2B5EF4-FFF2-40B4-BE49-F238E27FC236}">
                  <a16:creationId xmlns:a16="http://schemas.microsoft.com/office/drawing/2014/main" id="{3736C081-FFDA-43EE-911D-ED4CF1851E34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34" name="矩形 13">
              <a:extLst>
                <a:ext uri="{FF2B5EF4-FFF2-40B4-BE49-F238E27FC236}">
                  <a16:creationId xmlns:a16="http://schemas.microsoft.com/office/drawing/2014/main" id="{D7DD5600-BA67-4684-B31D-5D51E301D21F}"/>
                </a:ext>
              </a:extLst>
            </p:cNvPr>
            <p:cNvSpPr/>
            <p:nvPr/>
          </p:nvSpPr>
          <p:spPr>
            <a:xfrm>
              <a:off x="7811114" y="3415851"/>
              <a:ext cx="791510" cy="664398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35" name="矩形 13">
              <a:extLst>
                <a:ext uri="{FF2B5EF4-FFF2-40B4-BE49-F238E27FC236}">
                  <a16:creationId xmlns:a16="http://schemas.microsoft.com/office/drawing/2014/main" id="{BC3B5A4E-6C32-4D05-AF55-90FF1B2229EE}"/>
                </a:ext>
              </a:extLst>
            </p:cNvPr>
            <p:cNvSpPr/>
            <p:nvPr/>
          </p:nvSpPr>
          <p:spPr>
            <a:xfrm>
              <a:off x="7820945" y="4866463"/>
              <a:ext cx="791510" cy="664398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36" name="矩形 13">
              <a:extLst>
                <a:ext uri="{FF2B5EF4-FFF2-40B4-BE49-F238E27FC236}">
                  <a16:creationId xmlns:a16="http://schemas.microsoft.com/office/drawing/2014/main" id="{F88EA78A-8884-4B54-B1DC-FEF751661CA0}"/>
                </a:ext>
              </a:extLst>
            </p:cNvPr>
            <p:cNvSpPr/>
            <p:nvPr/>
          </p:nvSpPr>
          <p:spPr>
            <a:xfrm>
              <a:off x="7818707" y="4134866"/>
              <a:ext cx="791510" cy="664398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37" name="矩形 13">
              <a:extLst>
                <a:ext uri="{FF2B5EF4-FFF2-40B4-BE49-F238E27FC236}">
                  <a16:creationId xmlns:a16="http://schemas.microsoft.com/office/drawing/2014/main" id="{30D76234-18BB-4226-91F3-496541FDB173}"/>
                </a:ext>
              </a:extLst>
            </p:cNvPr>
            <p:cNvSpPr/>
            <p:nvPr/>
          </p:nvSpPr>
          <p:spPr>
            <a:xfrm>
              <a:off x="7823691" y="5596166"/>
              <a:ext cx="791510" cy="664398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190/233/238</a:t>
              </a:r>
            </a:p>
          </p:txBody>
        </p:sp>
        <p:sp>
          <p:nvSpPr>
            <p:cNvPr id="38" name="矩形 13">
              <a:extLst>
                <a:ext uri="{FF2B5EF4-FFF2-40B4-BE49-F238E27FC236}">
                  <a16:creationId xmlns:a16="http://schemas.microsoft.com/office/drawing/2014/main" id="{742E2780-BD5E-413B-9BE8-96DFFF8B5649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39" name="矩形 13">
              <a:extLst>
                <a:ext uri="{FF2B5EF4-FFF2-40B4-BE49-F238E27FC236}">
                  <a16:creationId xmlns:a16="http://schemas.microsoft.com/office/drawing/2014/main" id="{89CF25F0-ACC6-4FC4-948A-BCE4A802FD25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40" name="矩形 13">
              <a:extLst>
                <a:ext uri="{FF2B5EF4-FFF2-40B4-BE49-F238E27FC236}">
                  <a16:creationId xmlns:a16="http://schemas.microsoft.com/office/drawing/2014/main" id="{8D2EF9D5-EBCD-490B-B8B9-645C824F91AD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0/0/0</a:t>
              </a:r>
            </a:p>
          </p:txBody>
        </p:sp>
        <p:sp>
          <p:nvSpPr>
            <p:cNvPr id="41" name="矩形 13">
              <a:extLst>
                <a:ext uri="{FF2B5EF4-FFF2-40B4-BE49-F238E27FC236}">
                  <a16:creationId xmlns:a16="http://schemas.microsoft.com/office/drawing/2014/main" id="{0286ECB3-922D-48DD-AFE7-9C6E9060C6F2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42" name="矩形 13">
              <a:extLst>
                <a:ext uri="{FF2B5EF4-FFF2-40B4-BE49-F238E27FC236}">
                  <a16:creationId xmlns:a16="http://schemas.microsoft.com/office/drawing/2014/main" id="{26843338-C6AE-4E98-95C9-EA160CC2B30A}"/>
                </a:ext>
              </a:extLst>
            </p:cNvPr>
            <p:cNvSpPr/>
            <p:nvPr userDrawn="1"/>
          </p:nvSpPr>
          <p:spPr>
            <a:xfrm>
              <a:off x="6445335" y="6324024"/>
              <a:ext cx="513579" cy="664398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43" name="矩形 13">
              <a:extLst>
                <a:ext uri="{FF2B5EF4-FFF2-40B4-BE49-F238E27FC236}">
                  <a16:creationId xmlns:a16="http://schemas.microsoft.com/office/drawing/2014/main" id="{F41285F2-C98F-44DF-810D-AFDA8C2F7252}"/>
                </a:ext>
              </a:extLst>
            </p:cNvPr>
            <p:cNvSpPr/>
            <p:nvPr userDrawn="1"/>
          </p:nvSpPr>
          <p:spPr>
            <a:xfrm>
              <a:off x="7003279" y="6324024"/>
              <a:ext cx="513579" cy="664398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44" name="矩形 13">
              <a:extLst>
                <a:ext uri="{FF2B5EF4-FFF2-40B4-BE49-F238E27FC236}">
                  <a16:creationId xmlns:a16="http://schemas.microsoft.com/office/drawing/2014/main" id="{316800BF-7174-4B63-B993-7FF3F38E786A}"/>
                </a:ext>
              </a:extLst>
            </p:cNvPr>
            <p:cNvSpPr/>
            <p:nvPr userDrawn="1"/>
          </p:nvSpPr>
          <p:spPr>
            <a:xfrm>
              <a:off x="7551547" y="6324024"/>
              <a:ext cx="513579" cy="664398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45" name="矩形 13">
              <a:extLst>
                <a:ext uri="{FF2B5EF4-FFF2-40B4-BE49-F238E27FC236}">
                  <a16:creationId xmlns:a16="http://schemas.microsoft.com/office/drawing/2014/main" id="{E3AFA688-A359-4262-BC4E-961D2F75A295}"/>
                </a:ext>
              </a:extLst>
            </p:cNvPr>
            <p:cNvSpPr/>
            <p:nvPr userDrawn="1"/>
          </p:nvSpPr>
          <p:spPr>
            <a:xfrm>
              <a:off x="8098559" y="6324024"/>
              <a:ext cx="513579" cy="66439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5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18109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80" r:id="rId1"/>
  </p:sldLayoutIdLst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62">
          <p15:clr>
            <a:srgbClr val="F26B43"/>
          </p15:clr>
        </p15:guide>
        <p15:guide id="2" pos="7216">
          <p15:clr>
            <a:srgbClr val="F26B43"/>
          </p15:clr>
        </p15:guide>
        <p15:guide id="3" orient="horz" pos="550">
          <p15:clr>
            <a:srgbClr val="F26B43"/>
          </p15:clr>
        </p15:guide>
        <p15:guide id="4" orient="horz" pos="731">
          <p15:clr>
            <a:srgbClr val="F26B43"/>
          </p15:clr>
        </p15:guide>
        <p15:guide id="5" orient="horz" pos="3974">
          <p15:clr>
            <a:srgbClr val="F26B43"/>
          </p15:clr>
        </p15:guide>
        <p15:guide id="6" orient="horz" pos="3816">
          <p15:clr>
            <a:srgbClr val="F26B43"/>
          </p15:clr>
        </p15:guide>
      </p15:sldGuideLst>
    </p:ext>
  </p:extLst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28543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1D1D1B"/>
                </a:solidFill>
                <a:cs typeface="Arial" panose="020B0604020202020204" pitchFamily="34" charset="0"/>
              </a:rPr>
              <a:t>Huawei Proprietary – Restricted Distribu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cs typeface="Arial" panose="020B0604020202020204" pitchFamily="34" charset="0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  <p:grpSp>
        <p:nvGrpSpPr>
          <p:cNvPr id="5" name="Group 87">
            <a:extLst>
              <a:ext uri="{FF2B5EF4-FFF2-40B4-BE49-F238E27FC236}">
                <a16:creationId xmlns:a16="http://schemas.microsoft.com/office/drawing/2014/main" id="{CBB91E99-E194-4FBA-98E8-C8C541AFAD7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0" y="2625389"/>
            <a:ext cx="1967973" cy="4233515"/>
            <a:chOff x="5343885" y="-48857"/>
            <a:chExt cx="3271316" cy="7037279"/>
          </a:xfrm>
        </p:grpSpPr>
        <p:sp>
          <p:nvSpPr>
            <p:cNvPr id="6" name="矩形 13">
              <a:extLst>
                <a:ext uri="{FF2B5EF4-FFF2-40B4-BE49-F238E27FC236}">
                  <a16:creationId xmlns:a16="http://schemas.microsoft.com/office/drawing/2014/main" id="{87062D29-4B3D-43C6-B2F4-87266745F218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7" name="文本框 15">
              <a:extLst>
                <a:ext uri="{FF2B5EF4-FFF2-40B4-BE49-F238E27FC236}">
                  <a16:creationId xmlns:a16="http://schemas.microsoft.com/office/drawing/2014/main" id="{CF04794B-0451-4AF0-8B15-8E5F7B62486B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8" name="矩形 13">
              <a:extLst>
                <a:ext uri="{FF2B5EF4-FFF2-40B4-BE49-F238E27FC236}">
                  <a16:creationId xmlns:a16="http://schemas.microsoft.com/office/drawing/2014/main" id="{0DBE7A85-19E5-4416-A13E-6FDDFBF0D93F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" name="矩形 13">
              <a:extLst>
                <a:ext uri="{FF2B5EF4-FFF2-40B4-BE49-F238E27FC236}">
                  <a16:creationId xmlns:a16="http://schemas.microsoft.com/office/drawing/2014/main" id="{D0D35BE3-9F1D-49FC-BF5E-47C6902D7165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10" name="矩形 13">
              <a:extLst>
                <a:ext uri="{FF2B5EF4-FFF2-40B4-BE49-F238E27FC236}">
                  <a16:creationId xmlns:a16="http://schemas.microsoft.com/office/drawing/2014/main" id="{A556DFAA-1C6B-4B48-AC0A-CF59626865DB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11" name="矩形 13">
              <a:extLst>
                <a:ext uri="{FF2B5EF4-FFF2-40B4-BE49-F238E27FC236}">
                  <a16:creationId xmlns:a16="http://schemas.microsoft.com/office/drawing/2014/main" id="{425D8B17-2E6F-4DA0-98F8-4FA5B19A7F99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12" name="矩形 13">
              <a:extLst>
                <a:ext uri="{FF2B5EF4-FFF2-40B4-BE49-F238E27FC236}">
                  <a16:creationId xmlns:a16="http://schemas.microsoft.com/office/drawing/2014/main" id="{18E165AF-76C3-4826-9D25-C14CD69C9C28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13" name="矩形 13">
              <a:extLst>
                <a:ext uri="{FF2B5EF4-FFF2-40B4-BE49-F238E27FC236}">
                  <a16:creationId xmlns:a16="http://schemas.microsoft.com/office/drawing/2014/main" id="{7402DD78-561C-4E4A-9131-56F32E913BA0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5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14" name="文本框 15">
              <a:extLst>
                <a:ext uri="{FF2B5EF4-FFF2-40B4-BE49-F238E27FC236}">
                  <a16:creationId xmlns:a16="http://schemas.microsoft.com/office/drawing/2014/main" id="{7BE7850B-DB89-4939-8B9F-08E87A592B05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15" name="矩形 13">
              <a:extLst>
                <a:ext uri="{FF2B5EF4-FFF2-40B4-BE49-F238E27FC236}">
                  <a16:creationId xmlns:a16="http://schemas.microsoft.com/office/drawing/2014/main" id="{4821ECEB-5DCD-4780-8BA6-E48654F5DB65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6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16" name="矩形 13">
              <a:extLst>
                <a:ext uri="{FF2B5EF4-FFF2-40B4-BE49-F238E27FC236}">
                  <a16:creationId xmlns:a16="http://schemas.microsoft.com/office/drawing/2014/main" id="{648D93AC-ED6F-4DF5-A58B-A8DB369F7E3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7" name="矩形 13">
              <a:extLst>
                <a:ext uri="{FF2B5EF4-FFF2-40B4-BE49-F238E27FC236}">
                  <a16:creationId xmlns:a16="http://schemas.microsoft.com/office/drawing/2014/main" id="{E3E6EC3D-1867-4ECC-9F16-D29D3271CF3A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8" name="矩形 13">
              <a:extLst>
                <a:ext uri="{FF2B5EF4-FFF2-40B4-BE49-F238E27FC236}">
                  <a16:creationId xmlns:a16="http://schemas.microsoft.com/office/drawing/2014/main" id="{F5E34584-5D8D-4E4C-8F52-24B9319EC2F4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9" name="矩形 13">
              <a:extLst>
                <a:ext uri="{FF2B5EF4-FFF2-40B4-BE49-F238E27FC236}">
                  <a16:creationId xmlns:a16="http://schemas.microsoft.com/office/drawing/2014/main" id="{861F380C-7EE2-4915-A1B4-2DEC2F665DCD}"/>
                </a:ext>
              </a:extLst>
            </p:cNvPr>
            <p:cNvSpPr/>
            <p:nvPr userDrawn="1"/>
          </p:nvSpPr>
          <p:spPr>
            <a:xfrm>
              <a:off x="6184543" y="4866463"/>
              <a:ext cx="791510" cy="664398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20" name="矩形 13">
              <a:extLst>
                <a:ext uri="{FF2B5EF4-FFF2-40B4-BE49-F238E27FC236}">
                  <a16:creationId xmlns:a16="http://schemas.microsoft.com/office/drawing/2014/main" id="{FB920400-BC53-45C0-8624-91B8E82BC5D2}"/>
                </a:ext>
              </a:extLst>
            </p:cNvPr>
            <p:cNvSpPr/>
            <p:nvPr userDrawn="1"/>
          </p:nvSpPr>
          <p:spPr>
            <a:xfrm>
              <a:off x="6182308" y="4134866"/>
              <a:ext cx="791510" cy="664398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21" name="矩形 13">
              <a:extLst>
                <a:ext uri="{FF2B5EF4-FFF2-40B4-BE49-F238E27FC236}">
                  <a16:creationId xmlns:a16="http://schemas.microsoft.com/office/drawing/2014/main" id="{31078EDC-4A9F-43A4-9BA9-907569D85C92}"/>
                </a:ext>
              </a:extLst>
            </p:cNvPr>
            <p:cNvSpPr/>
            <p:nvPr userDrawn="1"/>
          </p:nvSpPr>
          <p:spPr>
            <a:xfrm>
              <a:off x="6177324" y="5596166"/>
              <a:ext cx="791510" cy="664398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22" name="矩形 13">
              <a:extLst>
                <a:ext uri="{FF2B5EF4-FFF2-40B4-BE49-F238E27FC236}">
                  <a16:creationId xmlns:a16="http://schemas.microsoft.com/office/drawing/2014/main" id="{BF5ECD26-9AAC-4B7D-B7B9-5D3E0A2E9DA4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23" name="矩形 13">
              <a:extLst>
                <a:ext uri="{FF2B5EF4-FFF2-40B4-BE49-F238E27FC236}">
                  <a16:creationId xmlns:a16="http://schemas.microsoft.com/office/drawing/2014/main" id="{9D857771-ACBB-41B6-8066-2ED34322E55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24" name="矩形 13">
              <a:extLst>
                <a:ext uri="{FF2B5EF4-FFF2-40B4-BE49-F238E27FC236}">
                  <a16:creationId xmlns:a16="http://schemas.microsoft.com/office/drawing/2014/main" id="{E5C2B2E4-7360-4919-AFF0-3278A14D20A3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25" name="矩形 13">
              <a:extLst>
                <a:ext uri="{FF2B5EF4-FFF2-40B4-BE49-F238E27FC236}">
                  <a16:creationId xmlns:a16="http://schemas.microsoft.com/office/drawing/2014/main" id="{205FF6C6-9AD5-4A14-97CD-DCA40CA434F5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26" name="矩形 13">
              <a:extLst>
                <a:ext uri="{FF2B5EF4-FFF2-40B4-BE49-F238E27FC236}">
                  <a16:creationId xmlns:a16="http://schemas.microsoft.com/office/drawing/2014/main" id="{569590BE-ACA3-4165-A3C8-EF0EC6DE1F37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27" name="矩形 13">
              <a:extLst>
                <a:ext uri="{FF2B5EF4-FFF2-40B4-BE49-F238E27FC236}">
                  <a16:creationId xmlns:a16="http://schemas.microsoft.com/office/drawing/2014/main" id="{A948AC6C-3900-47EE-9D2B-DAAC34E5977E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28" name="矩形 13">
              <a:extLst>
                <a:ext uri="{FF2B5EF4-FFF2-40B4-BE49-F238E27FC236}">
                  <a16:creationId xmlns:a16="http://schemas.microsoft.com/office/drawing/2014/main" id="{00E044ED-DB0C-4B5B-AA77-2ED06094E771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29" name="矩形 13">
              <a:extLst>
                <a:ext uri="{FF2B5EF4-FFF2-40B4-BE49-F238E27FC236}">
                  <a16:creationId xmlns:a16="http://schemas.microsoft.com/office/drawing/2014/main" id="{AF4BCC50-7A8D-4CF9-9D32-45E989EE069A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30" name="矩形 13">
              <a:extLst>
                <a:ext uri="{FF2B5EF4-FFF2-40B4-BE49-F238E27FC236}">
                  <a16:creationId xmlns:a16="http://schemas.microsoft.com/office/drawing/2014/main" id="{CE13758F-40BE-46B4-B658-12AE1F130F54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31" name="矩形 13">
              <a:extLst>
                <a:ext uri="{FF2B5EF4-FFF2-40B4-BE49-F238E27FC236}">
                  <a16:creationId xmlns:a16="http://schemas.microsoft.com/office/drawing/2014/main" id="{0F7F976C-16D5-4D99-9DA3-F8F819C590B4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32" name="矩形 13">
              <a:extLst>
                <a:ext uri="{FF2B5EF4-FFF2-40B4-BE49-F238E27FC236}">
                  <a16:creationId xmlns:a16="http://schemas.microsoft.com/office/drawing/2014/main" id="{4EC6DA09-C57C-4765-A960-35241AA4D022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33" name="矩形 13">
              <a:extLst>
                <a:ext uri="{FF2B5EF4-FFF2-40B4-BE49-F238E27FC236}">
                  <a16:creationId xmlns:a16="http://schemas.microsoft.com/office/drawing/2014/main" id="{3736C081-FFDA-43EE-911D-ED4CF1851E34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34" name="矩形 13">
              <a:extLst>
                <a:ext uri="{FF2B5EF4-FFF2-40B4-BE49-F238E27FC236}">
                  <a16:creationId xmlns:a16="http://schemas.microsoft.com/office/drawing/2014/main" id="{D7DD5600-BA67-4684-B31D-5D51E301D21F}"/>
                </a:ext>
              </a:extLst>
            </p:cNvPr>
            <p:cNvSpPr/>
            <p:nvPr/>
          </p:nvSpPr>
          <p:spPr>
            <a:xfrm>
              <a:off x="7811114" y="3415851"/>
              <a:ext cx="791510" cy="664398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35" name="矩形 13">
              <a:extLst>
                <a:ext uri="{FF2B5EF4-FFF2-40B4-BE49-F238E27FC236}">
                  <a16:creationId xmlns:a16="http://schemas.microsoft.com/office/drawing/2014/main" id="{BC3B5A4E-6C32-4D05-AF55-90FF1B2229EE}"/>
                </a:ext>
              </a:extLst>
            </p:cNvPr>
            <p:cNvSpPr/>
            <p:nvPr/>
          </p:nvSpPr>
          <p:spPr>
            <a:xfrm>
              <a:off x="7820945" y="4866463"/>
              <a:ext cx="791510" cy="664398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36" name="矩形 13">
              <a:extLst>
                <a:ext uri="{FF2B5EF4-FFF2-40B4-BE49-F238E27FC236}">
                  <a16:creationId xmlns:a16="http://schemas.microsoft.com/office/drawing/2014/main" id="{F88EA78A-8884-4B54-B1DC-FEF751661CA0}"/>
                </a:ext>
              </a:extLst>
            </p:cNvPr>
            <p:cNvSpPr/>
            <p:nvPr/>
          </p:nvSpPr>
          <p:spPr>
            <a:xfrm>
              <a:off x="7818707" y="4134866"/>
              <a:ext cx="791510" cy="664398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37" name="矩形 13">
              <a:extLst>
                <a:ext uri="{FF2B5EF4-FFF2-40B4-BE49-F238E27FC236}">
                  <a16:creationId xmlns:a16="http://schemas.microsoft.com/office/drawing/2014/main" id="{30D76234-18BB-4226-91F3-496541FDB173}"/>
                </a:ext>
              </a:extLst>
            </p:cNvPr>
            <p:cNvSpPr/>
            <p:nvPr/>
          </p:nvSpPr>
          <p:spPr>
            <a:xfrm>
              <a:off x="7823691" y="5596166"/>
              <a:ext cx="791510" cy="664398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190/233/238</a:t>
              </a:r>
            </a:p>
          </p:txBody>
        </p:sp>
        <p:sp>
          <p:nvSpPr>
            <p:cNvPr id="38" name="矩形 13">
              <a:extLst>
                <a:ext uri="{FF2B5EF4-FFF2-40B4-BE49-F238E27FC236}">
                  <a16:creationId xmlns:a16="http://schemas.microsoft.com/office/drawing/2014/main" id="{742E2780-BD5E-413B-9BE8-96DFFF8B5649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39" name="矩形 13">
              <a:extLst>
                <a:ext uri="{FF2B5EF4-FFF2-40B4-BE49-F238E27FC236}">
                  <a16:creationId xmlns:a16="http://schemas.microsoft.com/office/drawing/2014/main" id="{89CF25F0-ACC6-4FC4-948A-BCE4A802FD25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40" name="矩形 13">
              <a:extLst>
                <a:ext uri="{FF2B5EF4-FFF2-40B4-BE49-F238E27FC236}">
                  <a16:creationId xmlns:a16="http://schemas.microsoft.com/office/drawing/2014/main" id="{8D2EF9D5-EBCD-490B-B8B9-645C824F91AD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0/0/0</a:t>
              </a:r>
            </a:p>
          </p:txBody>
        </p:sp>
        <p:sp>
          <p:nvSpPr>
            <p:cNvPr id="41" name="矩形 13">
              <a:extLst>
                <a:ext uri="{FF2B5EF4-FFF2-40B4-BE49-F238E27FC236}">
                  <a16:creationId xmlns:a16="http://schemas.microsoft.com/office/drawing/2014/main" id="{0286ECB3-922D-48DD-AFE7-9C6E9060C6F2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42" name="矩形 13">
              <a:extLst>
                <a:ext uri="{FF2B5EF4-FFF2-40B4-BE49-F238E27FC236}">
                  <a16:creationId xmlns:a16="http://schemas.microsoft.com/office/drawing/2014/main" id="{26843338-C6AE-4E98-95C9-EA160CC2B30A}"/>
                </a:ext>
              </a:extLst>
            </p:cNvPr>
            <p:cNvSpPr/>
            <p:nvPr userDrawn="1"/>
          </p:nvSpPr>
          <p:spPr>
            <a:xfrm>
              <a:off x="6445335" y="6324024"/>
              <a:ext cx="513579" cy="664398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43" name="矩形 13">
              <a:extLst>
                <a:ext uri="{FF2B5EF4-FFF2-40B4-BE49-F238E27FC236}">
                  <a16:creationId xmlns:a16="http://schemas.microsoft.com/office/drawing/2014/main" id="{F41285F2-C98F-44DF-810D-AFDA8C2F7252}"/>
                </a:ext>
              </a:extLst>
            </p:cNvPr>
            <p:cNvSpPr/>
            <p:nvPr userDrawn="1"/>
          </p:nvSpPr>
          <p:spPr>
            <a:xfrm>
              <a:off x="7003279" y="6324024"/>
              <a:ext cx="513579" cy="664398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44" name="矩形 13">
              <a:extLst>
                <a:ext uri="{FF2B5EF4-FFF2-40B4-BE49-F238E27FC236}">
                  <a16:creationId xmlns:a16="http://schemas.microsoft.com/office/drawing/2014/main" id="{316800BF-7174-4B63-B993-7FF3F38E786A}"/>
                </a:ext>
              </a:extLst>
            </p:cNvPr>
            <p:cNvSpPr/>
            <p:nvPr userDrawn="1"/>
          </p:nvSpPr>
          <p:spPr>
            <a:xfrm>
              <a:off x="7551547" y="6324024"/>
              <a:ext cx="513579" cy="664398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45" name="矩形 13">
              <a:extLst>
                <a:ext uri="{FF2B5EF4-FFF2-40B4-BE49-F238E27FC236}">
                  <a16:creationId xmlns:a16="http://schemas.microsoft.com/office/drawing/2014/main" id="{E3AFA688-A359-4262-BC4E-961D2F75A295}"/>
                </a:ext>
              </a:extLst>
            </p:cNvPr>
            <p:cNvSpPr/>
            <p:nvPr userDrawn="1"/>
          </p:nvSpPr>
          <p:spPr>
            <a:xfrm>
              <a:off x="8098559" y="6324024"/>
              <a:ext cx="513579" cy="66439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5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44008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83" r:id="rId1"/>
  </p:sldLayoutIdLst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62">
          <p15:clr>
            <a:srgbClr val="F26B43"/>
          </p15:clr>
        </p15:guide>
        <p15:guide id="2" pos="7216">
          <p15:clr>
            <a:srgbClr val="F26B43"/>
          </p15:clr>
        </p15:guide>
        <p15:guide id="3" orient="horz" pos="550">
          <p15:clr>
            <a:srgbClr val="F26B43"/>
          </p15:clr>
        </p15:guide>
        <p15:guide id="4" orient="horz" pos="731">
          <p15:clr>
            <a:srgbClr val="F26B43"/>
          </p15:clr>
        </p15:guide>
        <p15:guide id="5" orient="horz" pos="3974">
          <p15:clr>
            <a:srgbClr val="F26B43"/>
          </p15:clr>
        </p15:guide>
        <p15:guide id="6" orient="horz" pos="3816">
          <p15:clr>
            <a:srgbClr val="F26B43"/>
          </p15:clr>
        </p15:guide>
      </p15:sldGuideLst>
    </p:ext>
  </p:extLst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35039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Proprietary - Restricted Distribution</a:t>
            </a:r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7333705-F8D6-2847-B3CB-F2FAB51E2A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0" y="2625389"/>
            <a:ext cx="1967973" cy="4233515"/>
            <a:chOff x="5343885" y="-48857"/>
            <a:chExt cx="3271316" cy="7037279"/>
          </a:xfrm>
        </p:grpSpPr>
        <p:sp>
          <p:nvSpPr>
            <p:cNvPr id="89" name="矩形 13">
              <a:extLst>
                <a:ext uri="{FF2B5EF4-FFF2-40B4-BE49-F238E27FC236}">
                  <a16:creationId xmlns:a16="http://schemas.microsoft.com/office/drawing/2014/main" id="{B14DFA89-D483-CF47-82CC-DD86D7CAB09E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90" name="文本框 15">
              <a:extLst>
                <a:ext uri="{FF2B5EF4-FFF2-40B4-BE49-F238E27FC236}">
                  <a16:creationId xmlns:a16="http://schemas.microsoft.com/office/drawing/2014/main" id="{8223ADA0-340A-794B-93B7-24AFF612A719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91" name="矩形 13">
              <a:extLst>
                <a:ext uri="{FF2B5EF4-FFF2-40B4-BE49-F238E27FC236}">
                  <a16:creationId xmlns:a16="http://schemas.microsoft.com/office/drawing/2014/main" id="{5F63E0E3-4F22-7948-AB1A-40A84ECA92EC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2" name="矩形 13">
              <a:extLst>
                <a:ext uri="{FF2B5EF4-FFF2-40B4-BE49-F238E27FC236}">
                  <a16:creationId xmlns:a16="http://schemas.microsoft.com/office/drawing/2014/main" id="{29C4A3C6-7C7B-7140-8F73-591E9F49143F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93" name="矩形 13">
              <a:extLst>
                <a:ext uri="{FF2B5EF4-FFF2-40B4-BE49-F238E27FC236}">
                  <a16:creationId xmlns:a16="http://schemas.microsoft.com/office/drawing/2014/main" id="{BE4C9A8D-46B0-5B40-BC47-DB6C4899227F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94" name="矩形 13">
              <a:extLst>
                <a:ext uri="{FF2B5EF4-FFF2-40B4-BE49-F238E27FC236}">
                  <a16:creationId xmlns:a16="http://schemas.microsoft.com/office/drawing/2014/main" id="{612F2ED4-F7A4-9E48-95E1-8D07B3BBE962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95" name="矩形 13">
              <a:extLst>
                <a:ext uri="{FF2B5EF4-FFF2-40B4-BE49-F238E27FC236}">
                  <a16:creationId xmlns:a16="http://schemas.microsoft.com/office/drawing/2014/main" id="{A9E1D476-C288-8945-A68A-1F20C557294B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6" name="矩形 13">
              <a:extLst>
                <a:ext uri="{FF2B5EF4-FFF2-40B4-BE49-F238E27FC236}">
                  <a16:creationId xmlns:a16="http://schemas.microsoft.com/office/drawing/2014/main" id="{42823EBB-E62E-F149-AC9A-09950051F283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5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97" name="文本框 15">
              <a:extLst>
                <a:ext uri="{FF2B5EF4-FFF2-40B4-BE49-F238E27FC236}">
                  <a16:creationId xmlns:a16="http://schemas.microsoft.com/office/drawing/2014/main" id="{EA01C299-6FF2-3642-AAEC-A1DF62D9C654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98" name="矩形 13">
              <a:extLst>
                <a:ext uri="{FF2B5EF4-FFF2-40B4-BE49-F238E27FC236}">
                  <a16:creationId xmlns:a16="http://schemas.microsoft.com/office/drawing/2014/main" id="{B84AB502-165F-764A-9621-65CA8CBBEAEA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6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99" name="矩形 13">
              <a:extLst>
                <a:ext uri="{FF2B5EF4-FFF2-40B4-BE49-F238E27FC236}">
                  <a16:creationId xmlns:a16="http://schemas.microsoft.com/office/drawing/2014/main" id="{CB8870E8-3E95-764C-B621-A168E194CC7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00" name="矩形 13">
              <a:extLst>
                <a:ext uri="{FF2B5EF4-FFF2-40B4-BE49-F238E27FC236}">
                  <a16:creationId xmlns:a16="http://schemas.microsoft.com/office/drawing/2014/main" id="{356EF69A-1936-544F-A95F-0664F4E186D5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01" name="矩形 13">
              <a:extLst>
                <a:ext uri="{FF2B5EF4-FFF2-40B4-BE49-F238E27FC236}">
                  <a16:creationId xmlns:a16="http://schemas.microsoft.com/office/drawing/2014/main" id="{03EBAB43-95A5-1C4A-8458-B86EB3D51FCA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02" name="矩形 13">
              <a:extLst>
                <a:ext uri="{FF2B5EF4-FFF2-40B4-BE49-F238E27FC236}">
                  <a16:creationId xmlns:a16="http://schemas.microsoft.com/office/drawing/2014/main" id="{371A8520-F934-304C-B57F-B49F768694E2}"/>
                </a:ext>
              </a:extLst>
            </p:cNvPr>
            <p:cNvSpPr/>
            <p:nvPr userDrawn="1"/>
          </p:nvSpPr>
          <p:spPr>
            <a:xfrm>
              <a:off x="6184543" y="4866463"/>
              <a:ext cx="791510" cy="664398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103" name="矩形 13">
              <a:extLst>
                <a:ext uri="{FF2B5EF4-FFF2-40B4-BE49-F238E27FC236}">
                  <a16:creationId xmlns:a16="http://schemas.microsoft.com/office/drawing/2014/main" id="{B83004D7-279B-C14E-9FCF-870FA1B74FDF}"/>
                </a:ext>
              </a:extLst>
            </p:cNvPr>
            <p:cNvSpPr/>
            <p:nvPr userDrawn="1"/>
          </p:nvSpPr>
          <p:spPr>
            <a:xfrm>
              <a:off x="6182308" y="4134866"/>
              <a:ext cx="791510" cy="664398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104" name="矩形 13">
              <a:extLst>
                <a:ext uri="{FF2B5EF4-FFF2-40B4-BE49-F238E27FC236}">
                  <a16:creationId xmlns:a16="http://schemas.microsoft.com/office/drawing/2014/main" id="{99635968-4E69-CC41-9D78-6DF253FE3035}"/>
                </a:ext>
              </a:extLst>
            </p:cNvPr>
            <p:cNvSpPr/>
            <p:nvPr userDrawn="1"/>
          </p:nvSpPr>
          <p:spPr>
            <a:xfrm>
              <a:off x="6177324" y="5596166"/>
              <a:ext cx="791510" cy="664398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105" name="矩形 13">
              <a:extLst>
                <a:ext uri="{FF2B5EF4-FFF2-40B4-BE49-F238E27FC236}">
                  <a16:creationId xmlns:a16="http://schemas.microsoft.com/office/drawing/2014/main" id="{BDBE4949-07B7-F046-AD95-68E4B0C11CCD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106" name="矩形 13">
              <a:extLst>
                <a:ext uri="{FF2B5EF4-FFF2-40B4-BE49-F238E27FC236}">
                  <a16:creationId xmlns:a16="http://schemas.microsoft.com/office/drawing/2014/main" id="{AA9F9E00-6A31-F14B-A2E4-79908835FD1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107" name="矩形 13">
              <a:extLst>
                <a:ext uri="{FF2B5EF4-FFF2-40B4-BE49-F238E27FC236}">
                  <a16:creationId xmlns:a16="http://schemas.microsoft.com/office/drawing/2014/main" id="{38715A31-485E-B744-B409-43F9F04B48F7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108" name="矩形 13">
              <a:extLst>
                <a:ext uri="{FF2B5EF4-FFF2-40B4-BE49-F238E27FC236}">
                  <a16:creationId xmlns:a16="http://schemas.microsoft.com/office/drawing/2014/main" id="{4AE1609B-25DD-2C4A-B05B-D18ADBC39C71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109" name="矩形 13">
              <a:extLst>
                <a:ext uri="{FF2B5EF4-FFF2-40B4-BE49-F238E27FC236}">
                  <a16:creationId xmlns:a16="http://schemas.microsoft.com/office/drawing/2014/main" id="{ECE90F9F-DBBC-0B49-A42C-8B62397E473E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0" name="矩形 13">
              <a:extLst>
                <a:ext uri="{FF2B5EF4-FFF2-40B4-BE49-F238E27FC236}">
                  <a16:creationId xmlns:a16="http://schemas.microsoft.com/office/drawing/2014/main" id="{D5B387BA-F8B8-B54E-966E-F24E271747C4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111" name="矩形 13">
              <a:extLst>
                <a:ext uri="{FF2B5EF4-FFF2-40B4-BE49-F238E27FC236}">
                  <a16:creationId xmlns:a16="http://schemas.microsoft.com/office/drawing/2014/main" id="{E6C9B99E-8C1C-2B49-B82E-3C754B8E5C02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112" name="矩形 13">
              <a:extLst>
                <a:ext uri="{FF2B5EF4-FFF2-40B4-BE49-F238E27FC236}">
                  <a16:creationId xmlns:a16="http://schemas.microsoft.com/office/drawing/2014/main" id="{0106BFA2-9DE1-3A42-A6C6-69BCE0FA34F4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113" name="矩形 13">
              <a:extLst>
                <a:ext uri="{FF2B5EF4-FFF2-40B4-BE49-F238E27FC236}">
                  <a16:creationId xmlns:a16="http://schemas.microsoft.com/office/drawing/2014/main" id="{F760C1C5-4342-C346-A7D2-D101978EDF66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114" name="矩形 13">
              <a:extLst>
                <a:ext uri="{FF2B5EF4-FFF2-40B4-BE49-F238E27FC236}">
                  <a16:creationId xmlns:a16="http://schemas.microsoft.com/office/drawing/2014/main" id="{5BB50A4A-0B64-7E4C-824C-1EBCA1A992CF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115" name="矩形 13">
              <a:extLst>
                <a:ext uri="{FF2B5EF4-FFF2-40B4-BE49-F238E27FC236}">
                  <a16:creationId xmlns:a16="http://schemas.microsoft.com/office/drawing/2014/main" id="{756A7E25-6C44-8A44-A8C5-61D19BC9EDAF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116" name="矩形 13">
              <a:extLst>
                <a:ext uri="{FF2B5EF4-FFF2-40B4-BE49-F238E27FC236}">
                  <a16:creationId xmlns:a16="http://schemas.microsoft.com/office/drawing/2014/main" id="{96588389-39CD-DF4E-B9AC-92091E25724E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117" name="矩形 13">
              <a:extLst>
                <a:ext uri="{FF2B5EF4-FFF2-40B4-BE49-F238E27FC236}">
                  <a16:creationId xmlns:a16="http://schemas.microsoft.com/office/drawing/2014/main" id="{20725C9F-31AE-DB44-B70A-B4ECDEC0BC00}"/>
                </a:ext>
              </a:extLst>
            </p:cNvPr>
            <p:cNvSpPr/>
            <p:nvPr/>
          </p:nvSpPr>
          <p:spPr>
            <a:xfrm>
              <a:off x="7811114" y="3415851"/>
              <a:ext cx="791510" cy="664398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8" name="矩形 13">
              <a:extLst>
                <a:ext uri="{FF2B5EF4-FFF2-40B4-BE49-F238E27FC236}">
                  <a16:creationId xmlns:a16="http://schemas.microsoft.com/office/drawing/2014/main" id="{AC5BCC27-B68D-0743-8E0B-E25F8D01C3A4}"/>
                </a:ext>
              </a:extLst>
            </p:cNvPr>
            <p:cNvSpPr/>
            <p:nvPr/>
          </p:nvSpPr>
          <p:spPr>
            <a:xfrm>
              <a:off x="7820945" y="4866463"/>
              <a:ext cx="791510" cy="664398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119" name="矩形 13">
              <a:extLst>
                <a:ext uri="{FF2B5EF4-FFF2-40B4-BE49-F238E27FC236}">
                  <a16:creationId xmlns:a16="http://schemas.microsoft.com/office/drawing/2014/main" id="{51C2E83A-C975-6945-B2FD-5B22BBB53DB7}"/>
                </a:ext>
              </a:extLst>
            </p:cNvPr>
            <p:cNvSpPr/>
            <p:nvPr/>
          </p:nvSpPr>
          <p:spPr>
            <a:xfrm>
              <a:off x="7818707" y="4134866"/>
              <a:ext cx="791510" cy="664398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120" name="矩形 13">
              <a:extLst>
                <a:ext uri="{FF2B5EF4-FFF2-40B4-BE49-F238E27FC236}">
                  <a16:creationId xmlns:a16="http://schemas.microsoft.com/office/drawing/2014/main" id="{BEE9A95F-6965-354F-A2C7-2E8C81DDA52F}"/>
                </a:ext>
              </a:extLst>
            </p:cNvPr>
            <p:cNvSpPr/>
            <p:nvPr/>
          </p:nvSpPr>
          <p:spPr>
            <a:xfrm>
              <a:off x="7823691" y="5596166"/>
              <a:ext cx="791510" cy="664398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190/233/238</a:t>
              </a:r>
            </a:p>
          </p:txBody>
        </p:sp>
        <p:sp>
          <p:nvSpPr>
            <p:cNvPr id="121" name="矩形 13">
              <a:extLst>
                <a:ext uri="{FF2B5EF4-FFF2-40B4-BE49-F238E27FC236}">
                  <a16:creationId xmlns:a16="http://schemas.microsoft.com/office/drawing/2014/main" id="{509164EB-3DC4-7A4F-9E7C-06EBC981CD0A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122" name="矩形 13">
              <a:extLst>
                <a:ext uri="{FF2B5EF4-FFF2-40B4-BE49-F238E27FC236}">
                  <a16:creationId xmlns:a16="http://schemas.microsoft.com/office/drawing/2014/main" id="{667867DD-D3E6-3040-A7B5-39345C0CE2E3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123" name="矩形 13">
              <a:extLst>
                <a:ext uri="{FF2B5EF4-FFF2-40B4-BE49-F238E27FC236}">
                  <a16:creationId xmlns:a16="http://schemas.microsoft.com/office/drawing/2014/main" id="{9EE10597-3782-AB46-8453-89FA049C6C46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0/0/0</a:t>
              </a:r>
            </a:p>
          </p:txBody>
        </p:sp>
        <p:sp>
          <p:nvSpPr>
            <p:cNvPr id="124" name="矩形 13">
              <a:extLst>
                <a:ext uri="{FF2B5EF4-FFF2-40B4-BE49-F238E27FC236}">
                  <a16:creationId xmlns:a16="http://schemas.microsoft.com/office/drawing/2014/main" id="{966B3529-B594-884C-BED0-5887B34BBBB8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125" name="矩形 13">
              <a:extLst>
                <a:ext uri="{FF2B5EF4-FFF2-40B4-BE49-F238E27FC236}">
                  <a16:creationId xmlns:a16="http://schemas.microsoft.com/office/drawing/2014/main" id="{0B0545C9-147F-584F-80D2-EF13876D7D33}"/>
                </a:ext>
              </a:extLst>
            </p:cNvPr>
            <p:cNvSpPr/>
            <p:nvPr userDrawn="1"/>
          </p:nvSpPr>
          <p:spPr>
            <a:xfrm>
              <a:off x="6445335" y="6324024"/>
              <a:ext cx="513579" cy="664398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126" name="矩形 13">
              <a:extLst>
                <a:ext uri="{FF2B5EF4-FFF2-40B4-BE49-F238E27FC236}">
                  <a16:creationId xmlns:a16="http://schemas.microsoft.com/office/drawing/2014/main" id="{44FD0A0B-0D45-3340-A523-465AC24134BF}"/>
                </a:ext>
              </a:extLst>
            </p:cNvPr>
            <p:cNvSpPr/>
            <p:nvPr userDrawn="1"/>
          </p:nvSpPr>
          <p:spPr>
            <a:xfrm>
              <a:off x="7003279" y="6324024"/>
              <a:ext cx="513579" cy="664398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127" name="矩形 13">
              <a:extLst>
                <a:ext uri="{FF2B5EF4-FFF2-40B4-BE49-F238E27FC236}">
                  <a16:creationId xmlns:a16="http://schemas.microsoft.com/office/drawing/2014/main" id="{2C404A07-276B-3648-BB25-4EDB5905448C}"/>
                </a:ext>
              </a:extLst>
            </p:cNvPr>
            <p:cNvSpPr/>
            <p:nvPr userDrawn="1"/>
          </p:nvSpPr>
          <p:spPr>
            <a:xfrm>
              <a:off x="7551547" y="6324024"/>
              <a:ext cx="513579" cy="664398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128" name="矩形 13">
              <a:extLst>
                <a:ext uri="{FF2B5EF4-FFF2-40B4-BE49-F238E27FC236}">
                  <a16:creationId xmlns:a16="http://schemas.microsoft.com/office/drawing/2014/main" id="{72B0F29C-A346-8946-9B8E-8F1B9DFF7AD0}"/>
                </a:ext>
              </a:extLst>
            </p:cNvPr>
            <p:cNvSpPr/>
            <p:nvPr userDrawn="1"/>
          </p:nvSpPr>
          <p:spPr>
            <a:xfrm>
              <a:off x="8098559" y="6324024"/>
              <a:ext cx="513579" cy="66439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</a:t>
              </a:r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11845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28543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12"/>
            <a:r>
              <a:rPr lang="en-US" sz="900" dirty="0">
                <a:solidFill>
                  <a:srgbClr val="1D1D1B"/>
                </a:solidFill>
                <a:cs typeface="Arial" panose="020B0604020202020204" pitchFamily="34" charset="0"/>
              </a:rPr>
              <a:t>Huawei Proprietary – Restricted Distribu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2" y="6402808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493">
              <a:defRPr/>
            </a:pPr>
            <a:fld id="{C3837181-38C6-AD4F-B8BA-B444770388BB}" type="slidenum">
              <a:rPr lang="en-US" sz="900">
                <a:solidFill>
                  <a:srgbClr val="1D1D1B"/>
                </a:solidFill>
                <a:cs typeface="Arial" panose="020B0604020202020204" pitchFamily="34" charset="0"/>
              </a:rPr>
              <a:pPr defTabSz="890493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cs typeface="Arial" panose="020B0604020202020204" pitchFamily="34" charset="0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  <p:grpSp>
        <p:nvGrpSpPr>
          <p:cNvPr id="5" name="Group 87">
            <a:extLst>
              <a:ext uri="{FF2B5EF4-FFF2-40B4-BE49-F238E27FC236}">
                <a16:creationId xmlns:a16="http://schemas.microsoft.com/office/drawing/2014/main" id="{CBB91E99-E194-4FBA-98E8-C8C541AFAD7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0" y="2625391"/>
            <a:ext cx="1967973" cy="4233515"/>
            <a:chOff x="5343885" y="-48857"/>
            <a:chExt cx="3271316" cy="7037279"/>
          </a:xfrm>
        </p:grpSpPr>
        <p:sp>
          <p:nvSpPr>
            <p:cNvPr id="6" name="矩形 13">
              <a:extLst>
                <a:ext uri="{FF2B5EF4-FFF2-40B4-BE49-F238E27FC236}">
                  <a16:creationId xmlns:a16="http://schemas.microsoft.com/office/drawing/2014/main" id="{87062D29-4B3D-43C6-B2F4-87266745F218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7" name="文本框 15">
              <a:extLst>
                <a:ext uri="{FF2B5EF4-FFF2-40B4-BE49-F238E27FC236}">
                  <a16:creationId xmlns:a16="http://schemas.microsoft.com/office/drawing/2014/main" id="{CF04794B-0451-4AF0-8B15-8E5F7B62486B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112"/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8" name="矩形 13">
              <a:extLst>
                <a:ext uri="{FF2B5EF4-FFF2-40B4-BE49-F238E27FC236}">
                  <a16:creationId xmlns:a16="http://schemas.microsoft.com/office/drawing/2014/main" id="{0DBE7A85-19E5-4416-A13E-6FDDFBF0D93F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" name="矩形 13">
              <a:extLst>
                <a:ext uri="{FF2B5EF4-FFF2-40B4-BE49-F238E27FC236}">
                  <a16:creationId xmlns:a16="http://schemas.microsoft.com/office/drawing/2014/main" id="{D0D35BE3-9F1D-49FC-BF5E-47C6902D7165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10" name="矩形 13">
              <a:extLst>
                <a:ext uri="{FF2B5EF4-FFF2-40B4-BE49-F238E27FC236}">
                  <a16:creationId xmlns:a16="http://schemas.microsoft.com/office/drawing/2014/main" id="{A556DFAA-1C6B-4B48-AC0A-CF59626865DB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11" name="矩形 13">
              <a:extLst>
                <a:ext uri="{FF2B5EF4-FFF2-40B4-BE49-F238E27FC236}">
                  <a16:creationId xmlns:a16="http://schemas.microsoft.com/office/drawing/2014/main" id="{425D8B17-2E6F-4DA0-98F8-4FA5B19A7F99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12" name="矩形 13">
              <a:extLst>
                <a:ext uri="{FF2B5EF4-FFF2-40B4-BE49-F238E27FC236}">
                  <a16:creationId xmlns:a16="http://schemas.microsoft.com/office/drawing/2014/main" id="{18E165AF-76C3-4826-9D25-C14CD69C9C28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13" name="矩形 13">
              <a:extLst>
                <a:ext uri="{FF2B5EF4-FFF2-40B4-BE49-F238E27FC236}">
                  <a16:creationId xmlns:a16="http://schemas.microsoft.com/office/drawing/2014/main" id="{7402DD78-561C-4E4A-9131-56F32E913BA0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5C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14" name="文本框 15">
              <a:extLst>
                <a:ext uri="{FF2B5EF4-FFF2-40B4-BE49-F238E27FC236}">
                  <a16:creationId xmlns:a16="http://schemas.microsoft.com/office/drawing/2014/main" id="{7BE7850B-DB89-4939-8B9F-08E87A592B05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112"/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15" name="矩形 13">
              <a:extLst>
                <a:ext uri="{FF2B5EF4-FFF2-40B4-BE49-F238E27FC236}">
                  <a16:creationId xmlns:a16="http://schemas.microsoft.com/office/drawing/2014/main" id="{4821ECEB-5DCD-4780-8BA6-E48654F5DB65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6C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16" name="矩形 13">
              <a:extLst>
                <a:ext uri="{FF2B5EF4-FFF2-40B4-BE49-F238E27FC236}">
                  <a16:creationId xmlns:a16="http://schemas.microsoft.com/office/drawing/2014/main" id="{648D93AC-ED6F-4DF5-A58B-A8DB369F7E3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7" name="矩形 13">
              <a:extLst>
                <a:ext uri="{FF2B5EF4-FFF2-40B4-BE49-F238E27FC236}">
                  <a16:creationId xmlns:a16="http://schemas.microsoft.com/office/drawing/2014/main" id="{E3E6EC3D-1867-4ECC-9F16-D29D3271CF3A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8" name="矩形 13">
              <a:extLst>
                <a:ext uri="{FF2B5EF4-FFF2-40B4-BE49-F238E27FC236}">
                  <a16:creationId xmlns:a16="http://schemas.microsoft.com/office/drawing/2014/main" id="{F5E34584-5D8D-4E4C-8F52-24B9319EC2F4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9" name="矩形 13">
              <a:extLst>
                <a:ext uri="{FF2B5EF4-FFF2-40B4-BE49-F238E27FC236}">
                  <a16:creationId xmlns:a16="http://schemas.microsoft.com/office/drawing/2014/main" id="{861F380C-7EE2-4915-A1B4-2DEC2F665DCD}"/>
                </a:ext>
              </a:extLst>
            </p:cNvPr>
            <p:cNvSpPr/>
            <p:nvPr userDrawn="1"/>
          </p:nvSpPr>
          <p:spPr>
            <a:xfrm>
              <a:off x="6184543" y="4866463"/>
              <a:ext cx="791510" cy="664398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20" name="矩形 13">
              <a:extLst>
                <a:ext uri="{FF2B5EF4-FFF2-40B4-BE49-F238E27FC236}">
                  <a16:creationId xmlns:a16="http://schemas.microsoft.com/office/drawing/2014/main" id="{FB920400-BC53-45C0-8624-91B8E82BC5D2}"/>
                </a:ext>
              </a:extLst>
            </p:cNvPr>
            <p:cNvSpPr/>
            <p:nvPr userDrawn="1"/>
          </p:nvSpPr>
          <p:spPr>
            <a:xfrm>
              <a:off x="6182308" y="4134866"/>
              <a:ext cx="791510" cy="664398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21" name="矩形 13">
              <a:extLst>
                <a:ext uri="{FF2B5EF4-FFF2-40B4-BE49-F238E27FC236}">
                  <a16:creationId xmlns:a16="http://schemas.microsoft.com/office/drawing/2014/main" id="{31078EDC-4A9F-43A4-9BA9-907569D85C92}"/>
                </a:ext>
              </a:extLst>
            </p:cNvPr>
            <p:cNvSpPr/>
            <p:nvPr userDrawn="1"/>
          </p:nvSpPr>
          <p:spPr>
            <a:xfrm>
              <a:off x="6177324" y="5596166"/>
              <a:ext cx="791510" cy="664398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22" name="矩形 13">
              <a:extLst>
                <a:ext uri="{FF2B5EF4-FFF2-40B4-BE49-F238E27FC236}">
                  <a16:creationId xmlns:a16="http://schemas.microsoft.com/office/drawing/2014/main" id="{BF5ECD26-9AAC-4B7D-B7B9-5D3E0A2E9DA4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23" name="矩形 13">
              <a:extLst>
                <a:ext uri="{FF2B5EF4-FFF2-40B4-BE49-F238E27FC236}">
                  <a16:creationId xmlns:a16="http://schemas.microsoft.com/office/drawing/2014/main" id="{9D857771-ACBB-41B6-8066-2ED34322E55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24" name="矩形 13">
              <a:extLst>
                <a:ext uri="{FF2B5EF4-FFF2-40B4-BE49-F238E27FC236}">
                  <a16:creationId xmlns:a16="http://schemas.microsoft.com/office/drawing/2014/main" id="{E5C2B2E4-7360-4919-AFF0-3278A14D20A3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25" name="矩形 13">
              <a:extLst>
                <a:ext uri="{FF2B5EF4-FFF2-40B4-BE49-F238E27FC236}">
                  <a16:creationId xmlns:a16="http://schemas.microsoft.com/office/drawing/2014/main" id="{205FF6C6-9AD5-4A14-97CD-DCA40CA434F5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26" name="矩形 13">
              <a:extLst>
                <a:ext uri="{FF2B5EF4-FFF2-40B4-BE49-F238E27FC236}">
                  <a16:creationId xmlns:a16="http://schemas.microsoft.com/office/drawing/2014/main" id="{569590BE-ACA3-4165-A3C8-EF0EC6DE1F37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27" name="矩形 13">
              <a:extLst>
                <a:ext uri="{FF2B5EF4-FFF2-40B4-BE49-F238E27FC236}">
                  <a16:creationId xmlns:a16="http://schemas.microsoft.com/office/drawing/2014/main" id="{A948AC6C-3900-47EE-9D2B-DAAC34E5977E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28" name="矩形 13">
              <a:extLst>
                <a:ext uri="{FF2B5EF4-FFF2-40B4-BE49-F238E27FC236}">
                  <a16:creationId xmlns:a16="http://schemas.microsoft.com/office/drawing/2014/main" id="{00E044ED-DB0C-4B5B-AA77-2ED06094E771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29" name="矩形 13">
              <a:extLst>
                <a:ext uri="{FF2B5EF4-FFF2-40B4-BE49-F238E27FC236}">
                  <a16:creationId xmlns:a16="http://schemas.microsoft.com/office/drawing/2014/main" id="{AF4BCC50-7A8D-4CF9-9D32-45E989EE069A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30" name="矩形 13">
              <a:extLst>
                <a:ext uri="{FF2B5EF4-FFF2-40B4-BE49-F238E27FC236}">
                  <a16:creationId xmlns:a16="http://schemas.microsoft.com/office/drawing/2014/main" id="{CE13758F-40BE-46B4-B658-12AE1F130F54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31" name="矩形 13">
              <a:extLst>
                <a:ext uri="{FF2B5EF4-FFF2-40B4-BE49-F238E27FC236}">
                  <a16:creationId xmlns:a16="http://schemas.microsoft.com/office/drawing/2014/main" id="{0F7F976C-16D5-4D99-9DA3-F8F819C590B4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32" name="矩形 13">
              <a:extLst>
                <a:ext uri="{FF2B5EF4-FFF2-40B4-BE49-F238E27FC236}">
                  <a16:creationId xmlns:a16="http://schemas.microsoft.com/office/drawing/2014/main" id="{4EC6DA09-C57C-4765-A960-35241AA4D022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33" name="矩形 13">
              <a:extLst>
                <a:ext uri="{FF2B5EF4-FFF2-40B4-BE49-F238E27FC236}">
                  <a16:creationId xmlns:a16="http://schemas.microsoft.com/office/drawing/2014/main" id="{3736C081-FFDA-43EE-911D-ED4CF1851E34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34" name="矩形 13">
              <a:extLst>
                <a:ext uri="{FF2B5EF4-FFF2-40B4-BE49-F238E27FC236}">
                  <a16:creationId xmlns:a16="http://schemas.microsoft.com/office/drawing/2014/main" id="{D7DD5600-BA67-4684-B31D-5D51E301D21F}"/>
                </a:ext>
              </a:extLst>
            </p:cNvPr>
            <p:cNvSpPr/>
            <p:nvPr/>
          </p:nvSpPr>
          <p:spPr>
            <a:xfrm>
              <a:off x="7811114" y="3415851"/>
              <a:ext cx="791510" cy="664398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35" name="矩形 13">
              <a:extLst>
                <a:ext uri="{FF2B5EF4-FFF2-40B4-BE49-F238E27FC236}">
                  <a16:creationId xmlns:a16="http://schemas.microsoft.com/office/drawing/2014/main" id="{BC3B5A4E-6C32-4D05-AF55-90FF1B2229EE}"/>
                </a:ext>
              </a:extLst>
            </p:cNvPr>
            <p:cNvSpPr/>
            <p:nvPr/>
          </p:nvSpPr>
          <p:spPr>
            <a:xfrm>
              <a:off x="7820945" y="4866463"/>
              <a:ext cx="791510" cy="664398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36" name="矩形 13">
              <a:extLst>
                <a:ext uri="{FF2B5EF4-FFF2-40B4-BE49-F238E27FC236}">
                  <a16:creationId xmlns:a16="http://schemas.microsoft.com/office/drawing/2014/main" id="{F88EA78A-8884-4B54-B1DC-FEF751661CA0}"/>
                </a:ext>
              </a:extLst>
            </p:cNvPr>
            <p:cNvSpPr/>
            <p:nvPr/>
          </p:nvSpPr>
          <p:spPr>
            <a:xfrm>
              <a:off x="7818707" y="4134866"/>
              <a:ext cx="791510" cy="664398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37" name="矩形 13">
              <a:extLst>
                <a:ext uri="{FF2B5EF4-FFF2-40B4-BE49-F238E27FC236}">
                  <a16:creationId xmlns:a16="http://schemas.microsoft.com/office/drawing/2014/main" id="{30D76234-18BB-4226-91F3-496541FDB173}"/>
                </a:ext>
              </a:extLst>
            </p:cNvPr>
            <p:cNvSpPr/>
            <p:nvPr/>
          </p:nvSpPr>
          <p:spPr>
            <a:xfrm>
              <a:off x="7823691" y="5596166"/>
              <a:ext cx="791510" cy="664398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190/233/238</a:t>
              </a:r>
            </a:p>
          </p:txBody>
        </p:sp>
        <p:sp>
          <p:nvSpPr>
            <p:cNvPr id="38" name="矩形 13">
              <a:extLst>
                <a:ext uri="{FF2B5EF4-FFF2-40B4-BE49-F238E27FC236}">
                  <a16:creationId xmlns:a16="http://schemas.microsoft.com/office/drawing/2014/main" id="{742E2780-BD5E-413B-9BE8-96DFFF8B5649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39" name="矩形 13">
              <a:extLst>
                <a:ext uri="{FF2B5EF4-FFF2-40B4-BE49-F238E27FC236}">
                  <a16:creationId xmlns:a16="http://schemas.microsoft.com/office/drawing/2014/main" id="{89CF25F0-ACC6-4FC4-948A-BCE4A802FD25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40" name="矩形 13">
              <a:extLst>
                <a:ext uri="{FF2B5EF4-FFF2-40B4-BE49-F238E27FC236}">
                  <a16:creationId xmlns:a16="http://schemas.microsoft.com/office/drawing/2014/main" id="{8D2EF9D5-EBCD-490B-B8B9-645C824F91AD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0/0/0</a:t>
              </a:r>
            </a:p>
          </p:txBody>
        </p:sp>
        <p:sp>
          <p:nvSpPr>
            <p:cNvPr id="41" name="矩形 13">
              <a:extLst>
                <a:ext uri="{FF2B5EF4-FFF2-40B4-BE49-F238E27FC236}">
                  <a16:creationId xmlns:a16="http://schemas.microsoft.com/office/drawing/2014/main" id="{0286ECB3-922D-48DD-AFE7-9C6E9060C6F2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42" name="矩形 13">
              <a:extLst>
                <a:ext uri="{FF2B5EF4-FFF2-40B4-BE49-F238E27FC236}">
                  <a16:creationId xmlns:a16="http://schemas.microsoft.com/office/drawing/2014/main" id="{26843338-C6AE-4E98-95C9-EA160CC2B30A}"/>
                </a:ext>
              </a:extLst>
            </p:cNvPr>
            <p:cNvSpPr/>
            <p:nvPr userDrawn="1"/>
          </p:nvSpPr>
          <p:spPr>
            <a:xfrm>
              <a:off x="6445335" y="6324024"/>
              <a:ext cx="513579" cy="664398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43" name="矩形 13">
              <a:extLst>
                <a:ext uri="{FF2B5EF4-FFF2-40B4-BE49-F238E27FC236}">
                  <a16:creationId xmlns:a16="http://schemas.microsoft.com/office/drawing/2014/main" id="{F41285F2-C98F-44DF-810D-AFDA8C2F7252}"/>
                </a:ext>
              </a:extLst>
            </p:cNvPr>
            <p:cNvSpPr/>
            <p:nvPr userDrawn="1"/>
          </p:nvSpPr>
          <p:spPr>
            <a:xfrm>
              <a:off x="7003279" y="6324024"/>
              <a:ext cx="513579" cy="664398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44" name="矩形 13">
              <a:extLst>
                <a:ext uri="{FF2B5EF4-FFF2-40B4-BE49-F238E27FC236}">
                  <a16:creationId xmlns:a16="http://schemas.microsoft.com/office/drawing/2014/main" id="{316800BF-7174-4B63-B993-7FF3F38E786A}"/>
                </a:ext>
              </a:extLst>
            </p:cNvPr>
            <p:cNvSpPr/>
            <p:nvPr userDrawn="1"/>
          </p:nvSpPr>
          <p:spPr>
            <a:xfrm>
              <a:off x="7551547" y="6324024"/>
              <a:ext cx="513579" cy="664398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45" name="矩形 13">
              <a:extLst>
                <a:ext uri="{FF2B5EF4-FFF2-40B4-BE49-F238E27FC236}">
                  <a16:creationId xmlns:a16="http://schemas.microsoft.com/office/drawing/2014/main" id="{E3AFA688-A359-4262-BC4E-961D2F75A295}"/>
                </a:ext>
              </a:extLst>
            </p:cNvPr>
            <p:cNvSpPr/>
            <p:nvPr userDrawn="1"/>
          </p:nvSpPr>
          <p:spPr>
            <a:xfrm>
              <a:off x="8098559" y="6324024"/>
              <a:ext cx="513579" cy="66439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5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36021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94" r:id="rId1"/>
    <p:sldLayoutId id="2147485695" r:id="rId2"/>
    <p:sldLayoutId id="2147485697" r:id="rId3"/>
    <p:sldLayoutId id="2147485698" r:id="rId4"/>
    <p:sldLayoutId id="2147485699" r:id="rId5"/>
    <p:sldLayoutId id="2147485700" r:id="rId6"/>
    <p:sldLayoutId id="2147485701" r:id="rId7"/>
    <p:sldLayoutId id="2147485702" r:id="rId8"/>
    <p:sldLayoutId id="2147485703" r:id="rId9"/>
    <p:sldLayoutId id="2147485704" r:id="rId10"/>
    <p:sldLayoutId id="2147485705" r:id="rId11"/>
    <p:sldLayoutId id="2147485706" r:id="rId12"/>
    <p:sldLayoutId id="2147485708" r:id="rId13"/>
    <p:sldLayoutId id="2147485709" r:id="rId14"/>
    <p:sldLayoutId id="2147485711" r:id="rId15"/>
    <p:sldLayoutId id="2147485713" r:id="rId16"/>
    <p:sldLayoutId id="2147485714" r:id="rId17"/>
    <p:sldLayoutId id="2147485716" r:id="rId18"/>
    <p:sldLayoutId id="2147485718" r:id="rId19"/>
    <p:sldLayoutId id="2147485719" r:id="rId20"/>
    <p:sldLayoutId id="2147485724" r:id="rId21"/>
    <p:sldLayoutId id="2147485725" r:id="rId22"/>
    <p:sldLayoutId id="2147485727" r:id="rId23"/>
    <p:sldLayoutId id="2147485729" r:id="rId24"/>
    <p:sldLayoutId id="2147485731" r:id="rId25"/>
    <p:sldLayoutId id="2147485738" r:id="rId26"/>
    <p:sldLayoutId id="2147485740" r:id="rId27"/>
    <p:sldLayoutId id="2147485742" r:id="rId28"/>
    <p:sldLayoutId id="2147485743" r:id="rId29"/>
    <p:sldLayoutId id="2147485757" r:id="rId30"/>
    <p:sldLayoutId id="2147485758" r:id="rId31"/>
  </p:sldLayoutIdLst>
  <p:hf hdr="0" ftr="0" dt="0"/>
  <p:txStyles>
    <p:titleStyle>
      <a:lvl1pPr algn="l" defTabSz="1187323" rtl="0" eaLnBrk="1" latinLnBrk="0" hangingPunct="1">
        <a:lnSpc>
          <a:spcPct val="90000"/>
        </a:lnSpc>
        <a:spcBef>
          <a:spcPct val="0"/>
        </a:spcBef>
        <a:buNone/>
        <a:defRPr sz="571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31" indent="-296831" algn="l" defTabSz="1187323" rtl="0" eaLnBrk="1" latinLnBrk="0" hangingPunct="1">
        <a:lnSpc>
          <a:spcPct val="90000"/>
        </a:lnSpc>
        <a:spcBef>
          <a:spcPts val="1298"/>
        </a:spcBef>
        <a:buFont typeface="Arial" panose="020B0604020202020204" pitchFamily="34" charset="0"/>
        <a:buChar char="•"/>
        <a:defRPr sz="3635" kern="1200">
          <a:solidFill>
            <a:schemeClr val="tx1"/>
          </a:solidFill>
          <a:latin typeface="+mn-lt"/>
          <a:ea typeface="+mn-ea"/>
          <a:cs typeface="+mn-cs"/>
        </a:defRPr>
      </a:lvl1pPr>
      <a:lvl2pPr marL="890493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7" kern="1200">
          <a:solidFill>
            <a:schemeClr val="tx1"/>
          </a:solidFill>
          <a:latin typeface="+mn-lt"/>
          <a:ea typeface="+mn-ea"/>
          <a:cs typeface="+mn-cs"/>
        </a:defRPr>
      </a:lvl2pPr>
      <a:lvl3pPr marL="1484154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7" kern="1200">
          <a:solidFill>
            <a:schemeClr val="tx1"/>
          </a:solidFill>
          <a:latin typeface="+mn-lt"/>
          <a:ea typeface="+mn-ea"/>
          <a:cs typeface="+mn-cs"/>
        </a:defRPr>
      </a:lvl3pPr>
      <a:lvl4pPr marL="2077817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4pPr>
      <a:lvl5pPr marL="2671478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5pPr>
      <a:lvl6pPr marL="3265140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6pPr>
      <a:lvl7pPr marL="3858802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7pPr>
      <a:lvl8pPr marL="4452463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8pPr>
      <a:lvl9pPr marL="5046125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1pPr>
      <a:lvl2pPr marL="593662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2pPr>
      <a:lvl3pPr marL="1187323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3pPr>
      <a:lvl4pPr marL="1780986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4pPr>
      <a:lvl5pPr marL="2374648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5pPr>
      <a:lvl6pPr marL="2968309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6pPr>
      <a:lvl7pPr marL="3561971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7pPr>
      <a:lvl8pPr marL="4155634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8pPr>
      <a:lvl9pPr marL="4749295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56">
          <p15:clr>
            <a:srgbClr val="F26B43"/>
          </p15:clr>
        </p15:guide>
        <p15:guide id="2" pos="7216">
          <p15:clr>
            <a:srgbClr val="F26B43"/>
          </p15:clr>
        </p15:guide>
        <p15:guide id="3" orient="horz" pos="560">
          <p15:clr>
            <a:srgbClr val="F26B43"/>
          </p15:clr>
        </p15:guide>
        <p15:guide id="4" orient="horz" pos="728">
          <p15:clr>
            <a:srgbClr val="F26B43"/>
          </p15:clr>
        </p15:guide>
        <p15:guide id="5" orient="horz" pos="3968">
          <p15:clr>
            <a:srgbClr val="F26B43"/>
          </p15:clr>
        </p15:guide>
        <p15:guide id="6" orient="horz" pos="3800">
          <p15:clr>
            <a:srgbClr val="F26B43"/>
          </p15:clr>
        </p15:guide>
      </p15:sldGuideLst>
    </p:ext>
  </p:extLst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8" y="6356939"/>
            <a:ext cx="35039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12"/>
            <a:r>
              <a:rPr lang="en-US" altLang="zh-CN" sz="9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Proprietary - Restricted Distribution</a:t>
            </a:r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2" y="6402808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493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90493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7333705-F8D6-2847-B3CB-F2FAB51E2A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0" y="2625391"/>
            <a:ext cx="1967973" cy="4233515"/>
            <a:chOff x="5343885" y="-48857"/>
            <a:chExt cx="3271316" cy="7037279"/>
          </a:xfrm>
        </p:grpSpPr>
        <p:sp>
          <p:nvSpPr>
            <p:cNvPr id="89" name="矩形 13">
              <a:extLst>
                <a:ext uri="{FF2B5EF4-FFF2-40B4-BE49-F238E27FC236}">
                  <a16:creationId xmlns:a16="http://schemas.microsoft.com/office/drawing/2014/main" id="{B14DFA89-D483-CF47-82CC-DD86D7CAB09E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90" name="文本框 15">
              <a:extLst>
                <a:ext uri="{FF2B5EF4-FFF2-40B4-BE49-F238E27FC236}">
                  <a16:creationId xmlns:a16="http://schemas.microsoft.com/office/drawing/2014/main" id="{8223ADA0-340A-794B-93B7-24AFF612A719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112"/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91" name="矩形 13">
              <a:extLst>
                <a:ext uri="{FF2B5EF4-FFF2-40B4-BE49-F238E27FC236}">
                  <a16:creationId xmlns:a16="http://schemas.microsoft.com/office/drawing/2014/main" id="{5F63E0E3-4F22-7948-AB1A-40A84ECA92EC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2" name="矩形 13">
              <a:extLst>
                <a:ext uri="{FF2B5EF4-FFF2-40B4-BE49-F238E27FC236}">
                  <a16:creationId xmlns:a16="http://schemas.microsoft.com/office/drawing/2014/main" id="{29C4A3C6-7C7B-7140-8F73-591E9F49143F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93" name="矩形 13">
              <a:extLst>
                <a:ext uri="{FF2B5EF4-FFF2-40B4-BE49-F238E27FC236}">
                  <a16:creationId xmlns:a16="http://schemas.microsoft.com/office/drawing/2014/main" id="{BE4C9A8D-46B0-5B40-BC47-DB6C4899227F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94" name="矩形 13">
              <a:extLst>
                <a:ext uri="{FF2B5EF4-FFF2-40B4-BE49-F238E27FC236}">
                  <a16:creationId xmlns:a16="http://schemas.microsoft.com/office/drawing/2014/main" id="{612F2ED4-F7A4-9E48-95E1-8D07B3BBE962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95" name="矩形 13">
              <a:extLst>
                <a:ext uri="{FF2B5EF4-FFF2-40B4-BE49-F238E27FC236}">
                  <a16:creationId xmlns:a16="http://schemas.microsoft.com/office/drawing/2014/main" id="{A9E1D476-C288-8945-A68A-1F20C557294B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6" name="矩形 13">
              <a:extLst>
                <a:ext uri="{FF2B5EF4-FFF2-40B4-BE49-F238E27FC236}">
                  <a16:creationId xmlns:a16="http://schemas.microsoft.com/office/drawing/2014/main" id="{42823EBB-E62E-F149-AC9A-09950051F283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5C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97" name="文本框 15">
              <a:extLst>
                <a:ext uri="{FF2B5EF4-FFF2-40B4-BE49-F238E27FC236}">
                  <a16:creationId xmlns:a16="http://schemas.microsoft.com/office/drawing/2014/main" id="{EA01C299-6FF2-3642-AAEC-A1DF62D9C654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112"/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98" name="矩形 13">
              <a:extLst>
                <a:ext uri="{FF2B5EF4-FFF2-40B4-BE49-F238E27FC236}">
                  <a16:creationId xmlns:a16="http://schemas.microsoft.com/office/drawing/2014/main" id="{B84AB502-165F-764A-9621-65CA8CBBEAEA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6C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99" name="矩形 13">
              <a:extLst>
                <a:ext uri="{FF2B5EF4-FFF2-40B4-BE49-F238E27FC236}">
                  <a16:creationId xmlns:a16="http://schemas.microsoft.com/office/drawing/2014/main" id="{CB8870E8-3E95-764C-B621-A168E194CC7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00" name="矩形 13">
              <a:extLst>
                <a:ext uri="{FF2B5EF4-FFF2-40B4-BE49-F238E27FC236}">
                  <a16:creationId xmlns:a16="http://schemas.microsoft.com/office/drawing/2014/main" id="{356EF69A-1936-544F-A95F-0664F4E186D5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01" name="矩形 13">
              <a:extLst>
                <a:ext uri="{FF2B5EF4-FFF2-40B4-BE49-F238E27FC236}">
                  <a16:creationId xmlns:a16="http://schemas.microsoft.com/office/drawing/2014/main" id="{03EBAB43-95A5-1C4A-8458-B86EB3D51FCA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02" name="矩形 13">
              <a:extLst>
                <a:ext uri="{FF2B5EF4-FFF2-40B4-BE49-F238E27FC236}">
                  <a16:creationId xmlns:a16="http://schemas.microsoft.com/office/drawing/2014/main" id="{371A8520-F934-304C-B57F-B49F768694E2}"/>
                </a:ext>
              </a:extLst>
            </p:cNvPr>
            <p:cNvSpPr/>
            <p:nvPr userDrawn="1"/>
          </p:nvSpPr>
          <p:spPr>
            <a:xfrm>
              <a:off x="6184543" y="4866463"/>
              <a:ext cx="791510" cy="664398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103" name="矩形 13">
              <a:extLst>
                <a:ext uri="{FF2B5EF4-FFF2-40B4-BE49-F238E27FC236}">
                  <a16:creationId xmlns:a16="http://schemas.microsoft.com/office/drawing/2014/main" id="{B83004D7-279B-C14E-9FCF-870FA1B74FDF}"/>
                </a:ext>
              </a:extLst>
            </p:cNvPr>
            <p:cNvSpPr/>
            <p:nvPr userDrawn="1"/>
          </p:nvSpPr>
          <p:spPr>
            <a:xfrm>
              <a:off x="6182308" y="4134866"/>
              <a:ext cx="791510" cy="664398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104" name="矩形 13">
              <a:extLst>
                <a:ext uri="{FF2B5EF4-FFF2-40B4-BE49-F238E27FC236}">
                  <a16:creationId xmlns:a16="http://schemas.microsoft.com/office/drawing/2014/main" id="{99635968-4E69-CC41-9D78-6DF253FE3035}"/>
                </a:ext>
              </a:extLst>
            </p:cNvPr>
            <p:cNvSpPr/>
            <p:nvPr userDrawn="1"/>
          </p:nvSpPr>
          <p:spPr>
            <a:xfrm>
              <a:off x="6177324" y="5596166"/>
              <a:ext cx="791510" cy="664398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105" name="矩形 13">
              <a:extLst>
                <a:ext uri="{FF2B5EF4-FFF2-40B4-BE49-F238E27FC236}">
                  <a16:creationId xmlns:a16="http://schemas.microsoft.com/office/drawing/2014/main" id="{BDBE4949-07B7-F046-AD95-68E4B0C11CCD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106" name="矩形 13">
              <a:extLst>
                <a:ext uri="{FF2B5EF4-FFF2-40B4-BE49-F238E27FC236}">
                  <a16:creationId xmlns:a16="http://schemas.microsoft.com/office/drawing/2014/main" id="{AA9F9E00-6A31-F14B-A2E4-79908835FD1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107" name="矩形 13">
              <a:extLst>
                <a:ext uri="{FF2B5EF4-FFF2-40B4-BE49-F238E27FC236}">
                  <a16:creationId xmlns:a16="http://schemas.microsoft.com/office/drawing/2014/main" id="{38715A31-485E-B744-B409-43F9F04B48F7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108" name="矩形 13">
              <a:extLst>
                <a:ext uri="{FF2B5EF4-FFF2-40B4-BE49-F238E27FC236}">
                  <a16:creationId xmlns:a16="http://schemas.microsoft.com/office/drawing/2014/main" id="{4AE1609B-25DD-2C4A-B05B-D18ADBC39C71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109" name="矩形 13">
              <a:extLst>
                <a:ext uri="{FF2B5EF4-FFF2-40B4-BE49-F238E27FC236}">
                  <a16:creationId xmlns:a16="http://schemas.microsoft.com/office/drawing/2014/main" id="{ECE90F9F-DBBC-0B49-A42C-8B62397E473E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0" name="矩形 13">
              <a:extLst>
                <a:ext uri="{FF2B5EF4-FFF2-40B4-BE49-F238E27FC236}">
                  <a16:creationId xmlns:a16="http://schemas.microsoft.com/office/drawing/2014/main" id="{D5B387BA-F8B8-B54E-966E-F24E271747C4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111" name="矩形 13">
              <a:extLst>
                <a:ext uri="{FF2B5EF4-FFF2-40B4-BE49-F238E27FC236}">
                  <a16:creationId xmlns:a16="http://schemas.microsoft.com/office/drawing/2014/main" id="{E6C9B99E-8C1C-2B49-B82E-3C754B8E5C02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112" name="矩形 13">
              <a:extLst>
                <a:ext uri="{FF2B5EF4-FFF2-40B4-BE49-F238E27FC236}">
                  <a16:creationId xmlns:a16="http://schemas.microsoft.com/office/drawing/2014/main" id="{0106BFA2-9DE1-3A42-A6C6-69BCE0FA34F4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113" name="矩形 13">
              <a:extLst>
                <a:ext uri="{FF2B5EF4-FFF2-40B4-BE49-F238E27FC236}">
                  <a16:creationId xmlns:a16="http://schemas.microsoft.com/office/drawing/2014/main" id="{F760C1C5-4342-C346-A7D2-D101978EDF66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114" name="矩形 13">
              <a:extLst>
                <a:ext uri="{FF2B5EF4-FFF2-40B4-BE49-F238E27FC236}">
                  <a16:creationId xmlns:a16="http://schemas.microsoft.com/office/drawing/2014/main" id="{5BB50A4A-0B64-7E4C-824C-1EBCA1A992CF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115" name="矩形 13">
              <a:extLst>
                <a:ext uri="{FF2B5EF4-FFF2-40B4-BE49-F238E27FC236}">
                  <a16:creationId xmlns:a16="http://schemas.microsoft.com/office/drawing/2014/main" id="{756A7E25-6C44-8A44-A8C5-61D19BC9EDAF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116" name="矩形 13">
              <a:extLst>
                <a:ext uri="{FF2B5EF4-FFF2-40B4-BE49-F238E27FC236}">
                  <a16:creationId xmlns:a16="http://schemas.microsoft.com/office/drawing/2014/main" id="{96588389-39CD-DF4E-B9AC-92091E25724E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117" name="矩形 13">
              <a:extLst>
                <a:ext uri="{FF2B5EF4-FFF2-40B4-BE49-F238E27FC236}">
                  <a16:creationId xmlns:a16="http://schemas.microsoft.com/office/drawing/2014/main" id="{20725C9F-31AE-DB44-B70A-B4ECDEC0BC00}"/>
                </a:ext>
              </a:extLst>
            </p:cNvPr>
            <p:cNvSpPr/>
            <p:nvPr/>
          </p:nvSpPr>
          <p:spPr>
            <a:xfrm>
              <a:off x="7811114" y="3415851"/>
              <a:ext cx="791510" cy="664398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8" name="矩形 13">
              <a:extLst>
                <a:ext uri="{FF2B5EF4-FFF2-40B4-BE49-F238E27FC236}">
                  <a16:creationId xmlns:a16="http://schemas.microsoft.com/office/drawing/2014/main" id="{AC5BCC27-B68D-0743-8E0B-E25F8D01C3A4}"/>
                </a:ext>
              </a:extLst>
            </p:cNvPr>
            <p:cNvSpPr/>
            <p:nvPr/>
          </p:nvSpPr>
          <p:spPr>
            <a:xfrm>
              <a:off x="7820945" y="4866463"/>
              <a:ext cx="791510" cy="664398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119" name="矩形 13">
              <a:extLst>
                <a:ext uri="{FF2B5EF4-FFF2-40B4-BE49-F238E27FC236}">
                  <a16:creationId xmlns:a16="http://schemas.microsoft.com/office/drawing/2014/main" id="{51C2E83A-C975-6945-B2FD-5B22BBB53DB7}"/>
                </a:ext>
              </a:extLst>
            </p:cNvPr>
            <p:cNvSpPr/>
            <p:nvPr/>
          </p:nvSpPr>
          <p:spPr>
            <a:xfrm>
              <a:off x="7818707" y="4134866"/>
              <a:ext cx="791510" cy="664398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120" name="矩形 13">
              <a:extLst>
                <a:ext uri="{FF2B5EF4-FFF2-40B4-BE49-F238E27FC236}">
                  <a16:creationId xmlns:a16="http://schemas.microsoft.com/office/drawing/2014/main" id="{BEE9A95F-6965-354F-A2C7-2E8C81DDA52F}"/>
                </a:ext>
              </a:extLst>
            </p:cNvPr>
            <p:cNvSpPr/>
            <p:nvPr/>
          </p:nvSpPr>
          <p:spPr>
            <a:xfrm>
              <a:off x="7823691" y="5596166"/>
              <a:ext cx="791510" cy="664398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190/233/238</a:t>
              </a:r>
            </a:p>
          </p:txBody>
        </p:sp>
        <p:sp>
          <p:nvSpPr>
            <p:cNvPr id="121" name="矩形 13">
              <a:extLst>
                <a:ext uri="{FF2B5EF4-FFF2-40B4-BE49-F238E27FC236}">
                  <a16:creationId xmlns:a16="http://schemas.microsoft.com/office/drawing/2014/main" id="{509164EB-3DC4-7A4F-9E7C-06EBC981CD0A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122" name="矩形 13">
              <a:extLst>
                <a:ext uri="{FF2B5EF4-FFF2-40B4-BE49-F238E27FC236}">
                  <a16:creationId xmlns:a16="http://schemas.microsoft.com/office/drawing/2014/main" id="{667867DD-D3E6-3040-A7B5-39345C0CE2E3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123" name="矩形 13">
              <a:extLst>
                <a:ext uri="{FF2B5EF4-FFF2-40B4-BE49-F238E27FC236}">
                  <a16:creationId xmlns:a16="http://schemas.microsoft.com/office/drawing/2014/main" id="{9EE10597-3782-AB46-8453-89FA049C6C46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0/0/0</a:t>
              </a:r>
            </a:p>
          </p:txBody>
        </p:sp>
        <p:sp>
          <p:nvSpPr>
            <p:cNvPr id="124" name="矩形 13">
              <a:extLst>
                <a:ext uri="{FF2B5EF4-FFF2-40B4-BE49-F238E27FC236}">
                  <a16:creationId xmlns:a16="http://schemas.microsoft.com/office/drawing/2014/main" id="{966B3529-B594-884C-BED0-5887B34BBBB8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125" name="矩形 13">
              <a:extLst>
                <a:ext uri="{FF2B5EF4-FFF2-40B4-BE49-F238E27FC236}">
                  <a16:creationId xmlns:a16="http://schemas.microsoft.com/office/drawing/2014/main" id="{0B0545C9-147F-584F-80D2-EF13876D7D33}"/>
                </a:ext>
              </a:extLst>
            </p:cNvPr>
            <p:cNvSpPr/>
            <p:nvPr userDrawn="1"/>
          </p:nvSpPr>
          <p:spPr>
            <a:xfrm>
              <a:off x="6445335" y="6324024"/>
              <a:ext cx="513579" cy="664398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126" name="矩形 13">
              <a:extLst>
                <a:ext uri="{FF2B5EF4-FFF2-40B4-BE49-F238E27FC236}">
                  <a16:creationId xmlns:a16="http://schemas.microsoft.com/office/drawing/2014/main" id="{44FD0A0B-0D45-3340-A523-465AC24134BF}"/>
                </a:ext>
              </a:extLst>
            </p:cNvPr>
            <p:cNvSpPr/>
            <p:nvPr userDrawn="1"/>
          </p:nvSpPr>
          <p:spPr>
            <a:xfrm>
              <a:off x="7003279" y="6324024"/>
              <a:ext cx="513579" cy="664398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127" name="矩形 13">
              <a:extLst>
                <a:ext uri="{FF2B5EF4-FFF2-40B4-BE49-F238E27FC236}">
                  <a16:creationId xmlns:a16="http://schemas.microsoft.com/office/drawing/2014/main" id="{2C404A07-276B-3648-BB25-4EDB5905448C}"/>
                </a:ext>
              </a:extLst>
            </p:cNvPr>
            <p:cNvSpPr/>
            <p:nvPr userDrawn="1"/>
          </p:nvSpPr>
          <p:spPr>
            <a:xfrm>
              <a:off x="7551547" y="6324024"/>
              <a:ext cx="513579" cy="664398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128" name="矩形 13">
              <a:extLst>
                <a:ext uri="{FF2B5EF4-FFF2-40B4-BE49-F238E27FC236}">
                  <a16:creationId xmlns:a16="http://schemas.microsoft.com/office/drawing/2014/main" id="{72B0F29C-A346-8946-9B8E-8F1B9DFF7AD0}"/>
                </a:ext>
              </a:extLst>
            </p:cNvPr>
            <p:cNvSpPr/>
            <p:nvPr userDrawn="1"/>
          </p:nvSpPr>
          <p:spPr>
            <a:xfrm>
              <a:off x="8098559" y="6324024"/>
              <a:ext cx="513579" cy="66439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</a:t>
              </a:r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3629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7323" rtl="0" eaLnBrk="1" latinLnBrk="0" hangingPunct="1">
        <a:lnSpc>
          <a:spcPct val="90000"/>
        </a:lnSpc>
        <a:spcBef>
          <a:spcPct val="0"/>
        </a:spcBef>
        <a:buNone/>
        <a:defRPr sz="571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31" indent="-296831" algn="l" defTabSz="1187323" rtl="0" eaLnBrk="1" latinLnBrk="0" hangingPunct="1">
        <a:lnSpc>
          <a:spcPct val="90000"/>
        </a:lnSpc>
        <a:spcBef>
          <a:spcPts val="1298"/>
        </a:spcBef>
        <a:buFont typeface="Arial" panose="020B0604020202020204" pitchFamily="34" charset="0"/>
        <a:buChar char="•"/>
        <a:defRPr sz="3635" kern="1200">
          <a:solidFill>
            <a:schemeClr val="tx1"/>
          </a:solidFill>
          <a:latin typeface="+mn-lt"/>
          <a:ea typeface="+mn-ea"/>
          <a:cs typeface="+mn-cs"/>
        </a:defRPr>
      </a:lvl1pPr>
      <a:lvl2pPr marL="890493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7" kern="1200">
          <a:solidFill>
            <a:schemeClr val="tx1"/>
          </a:solidFill>
          <a:latin typeface="+mn-lt"/>
          <a:ea typeface="+mn-ea"/>
          <a:cs typeface="+mn-cs"/>
        </a:defRPr>
      </a:lvl2pPr>
      <a:lvl3pPr marL="1484154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7" kern="1200">
          <a:solidFill>
            <a:schemeClr val="tx1"/>
          </a:solidFill>
          <a:latin typeface="+mn-lt"/>
          <a:ea typeface="+mn-ea"/>
          <a:cs typeface="+mn-cs"/>
        </a:defRPr>
      </a:lvl3pPr>
      <a:lvl4pPr marL="2077817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4pPr>
      <a:lvl5pPr marL="2671478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5pPr>
      <a:lvl6pPr marL="3265140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6pPr>
      <a:lvl7pPr marL="3858802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7pPr>
      <a:lvl8pPr marL="4452463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8pPr>
      <a:lvl9pPr marL="5046125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1pPr>
      <a:lvl2pPr marL="593662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2pPr>
      <a:lvl3pPr marL="1187323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3pPr>
      <a:lvl4pPr marL="1780986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4pPr>
      <a:lvl5pPr marL="2374648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5pPr>
      <a:lvl6pPr marL="2968309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6pPr>
      <a:lvl7pPr marL="3561971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7pPr>
      <a:lvl8pPr marL="4155634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8pPr>
      <a:lvl9pPr marL="4749295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28543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1D1D1B"/>
                </a:solidFill>
                <a:cs typeface="Arial" panose="020B0604020202020204" pitchFamily="34" charset="0"/>
              </a:rPr>
              <a:t>Huawei Proprietary – Restricted Distribu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cs typeface="Arial" panose="020B0604020202020204" pitchFamily="34" charset="0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  <p:grpSp>
        <p:nvGrpSpPr>
          <p:cNvPr id="5" name="Group 87">
            <a:extLst>
              <a:ext uri="{FF2B5EF4-FFF2-40B4-BE49-F238E27FC236}">
                <a16:creationId xmlns:a16="http://schemas.microsoft.com/office/drawing/2014/main" id="{CBB91E99-E194-4FBA-98E8-C8C541AFAD7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0" y="2625389"/>
            <a:ext cx="1967973" cy="4233515"/>
            <a:chOff x="5343885" y="-48857"/>
            <a:chExt cx="3271316" cy="7037279"/>
          </a:xfrm>
        </p:grpSpPr>
        <p:sp>
          <p:nvSpPr>
            <p:cNvPr id="6" name="矩形 13">
              <a:extLst>
                <a:ext uri="{FF2B5EF4-FFF2-40B4-BE49-F238E27FC236}">
                  <a16:creationId xmlns:a16="http://schemas.microsoft.com/office/drawing/2014/main" id="{87062D29-4B3D-43C6-B2F4-87266745F218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7" name="文本框 15">
              <a:extLst>
                <a:ext uri="{FF2B5EF4-FFF2-40B4-BE49-F238E27FC236}">
                  <a16:creationId xmlns:a16="http://schemas.microsoft.com/office/drawing/2014/main" id="{CF04794B-0451-4AF0-8B15-8E5F7B62486B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8" name="矩形 13">
              <a:extLst>
                <a:ext uri="{FF2B5EF4-FFF2-40B4-BE49-F238E27FC236}">
                  <a16:creationId xmlns:a16="http://schemas.microsoft.com/office/drawing/2014/main" id="{0DBE7A85-19E5-4416-A13E-6FDDFBF0D93F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" name="矩形 13">
              <a:extLst>
                <a:ext uri="{FF2B5EF4-FFF2-40B4-BE49-F238E27FC236}">
                  <a16:creationId xmlns:a16="http://schemas.microsoft.com/office/drawing/2014/main" id="{D0D35BE3-9F1D-49FC-BF5E-47C6902D7165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10" name="矩形 13">
              <a:extLst>
                <a:ext uri="{FF2B5EF4-FFF2-40B4-BE49-F238E27FC236}">
                  <a16:creationId xmlns:a16="http://schemas.microsoft.com/office/drawing/2014/main" id="{A556DFAA-1C6B-4B48-AC0A-CF59626865DB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11" name="矩形 13">
              <a:extLst>
                <a:ext uri="{FF2B5EF4-FFF2-40B4-BE49-F238E27FC236}">
                  <a16:creationId xmlns:a16="http://schemas.microsoft.com/office/drawing/2014/main" id="{425D8B17-2E6F-4DA0-98F8-4FA5B19A7F99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12" name="矩形 13">
              <a:extLst>
                <a:ext uri="{FF2B5EF4-FFF2-40B4-BE49-F238E27FC236}">
                  <a16:creationId xmlns:a16="http://schemas.microsoft.com/office/drawing/2014/main" id="{18E165AF-76C3-4826-9D25-C14CD69C9C28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13" name="矩形 13">
              <a:extLst>
                <a:ext uri="{FF2B5EF4-FFF2-40B4-BE49-F238E27FC236}">
                  <a16:creationId xmlns:a16="http://schemas.microsoft.com/office/drawing/2014/main" id="{7402DD78-561C-4E4A-9131-56F32E913BA0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5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14" name="文本框 15">
              <a:extLst>
                <a:ext uri="{FF2B5EF4-FFF2-40B4-BE49-F238E27FC236}">
                  <a16:creationId xmlns:a16="http://schemas.microsoft.com/office/drawing/2014/main" id="{7BE7850B-DB89-4939-8B9F-08E87A592B05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15" name="矩形 13">
              <a:extLst>
                <a:ext uri="{FF2B5EF4-FFF2-40B4-BE49-F238E27FC236}">
                  <a16:creationId xmlns:a16="http://schemas.microsoft.com/office/drawing/2014/main" id="{4821ECEB-5DCD-4780-8BA6-E48654F5DB65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6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16" name="矩形 13">
              <a:extLst>
                <a:ext uri="{FF2B5EF4-FFF2-40B4-BE49-F238E27FC236}">
                  <a16:creationId xmlns:a16="http://schemas.microsoft.com/office/drawing/2014/main" id="{648D93AC-ED6F-4DF5-A58B-A8DB369F7E3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7" name="矩形 13">
              <a:extLst>
                <a:ext uri="{FF2B5EF4-FFF2-40B4-BE49-F238E27FC236}">
                  <a16:creationId xmlns:a16="http://schemas.microsoft.com/office/drawing/2014/main" id="{E3E6EC3D-1867-4ECC-9F16-D29D3271CF3A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8" name="矩形 13">
              <a:extLst>
                <a:ext uri="{FF2B5EF4-FFF2-40B4-BE49-F238E27FC236}">
                  <a16:creationId xmlns:a16="http://schemas.microsoft.com/office/drawing/2014/main" id="{F5E34584-5D8D-4E4C-8F52-24B9319EC2F4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9" name="矩形 13">
              <a:extLst>
                <a:ext uri="{FF2B5EF4-FFF2-40B4-BE49-F238E27FC236}">
                  <a16:creationId xmlns:a16="http://schemas.microsoft.com/office/drawing/2014/main" id="{861F380C-7EE2-4915-A1B4-2DEC2F665DCD}"/>
                </a:ext>
              </a:extLst>
            </p:cNvPr>
            <p:cNvSpPr/>
            <p:nvPr userDrawn="1"/>
          </p:nvSpPr>
          <p:spPr>
            <a:xfrm>
              <a:off x="6184543" y="4866463"/>
              <a:ext cx="791510" cy="664398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20" name="矩形 13">
              <a:extLst>
                <a:ext uri="{FF2B5EF4-FFF2-40B4-BE49-F238E27FC236}">
                  <a16:creationId xmlns:a16="http://schemas.microsoft.com/office/drawing/2014/main" id="{FB920400-BC53-45C0-8624-91B8E82BC5D2}"/>
                </a:ext>
              </a:extLst>
            </p:cNvPr>
            <p:cNvSpPr/>
            <p:nvPr userDrawn="1"/>
          </p:nvSpPr>
          <p:spPr>
            <a:xfrm>
              <a:off x="6182308" y="4134866"/>
              <a:ext cx="791510" cy="664398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21" name="矩形 13">
              <a:extLst>
                <a:ext uri="{FF2B5EF4-FFF2-40B4-BE49-F238E27FC236}">
                  <a16:creationId xmlns:a16="http://schemas.microsoft.com/office/drawing/2014/main" id="{31078EDC-4A9F-43A4-9BA9-907569D85C92}"/>
                </a:ext>
              </a:extLst>
            </p:cNvPr>
            <p:cNvSpPr/>
            <p:nvPr userDrawn="1"/>
          </p:nvSpPr>
          <p:spPr>
            <a:xfrm>
              <a:off x="6177324" y="5596166"/>
              <a:ext cx="791510" cy="664398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22" name="矩形 13">
              <a:extLst>
                <a:ext uri="{FF2B5EF4-FFF2-40B4-BE49-F238E27FC236}">
                  <a16:creationId xmlns:a16="http://schemas.microsoft.com/office/drawing/2014/main" id="{BF5ECD26-9AAC-4B7D-B7B9-5D3E0A2E9DA4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23" name="矩形 13">
              <a:extLst>
                <a:ext uri="{FF2B5EF4-FFF2-40B4-BE49-F238E27FC236}">
                  <a16:creationId xmlns:a16="http://schemas.microsoft.com/office/drawing/2014/main" id="{9D857771-ACBB-41B6-8066-2ED34322E55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24" name="矩形 13">
              <a:extLst>
                <a:ext uri="{FF2B5EF4-FFF2-40B4-BE49-F238E27FC236}">
                  <a16:creationId xmlns:a16="http://schemas.microsoft.com/office/drawing/2014/main" id="{E5C2B2E4-7360-4919-AFF0-3278A14D20A3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25" name="矩形 13">
              <a:extLst>
                <a:ext uri="{FF2B5EF4-FFF2-40B4-BE49-F238E27FC236}">
                  <a16:creationId xmlns:a16="http://schemas.microsoft.com/office/drawing/2014/main" id="{205FF6C6-9AD5-4A14-97CD-DCA40CA434F5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26" name="矩形 13">
              <a:extLst>
                <a:ext uri="{FF2B5EF4-FFF2-40B4-BE49-F238E27FC236}">
                  <a16:creationId xmlns:a16="http://schemas.microsoft.com/office/drawing/2014/main" id="{569590BE-ACA3-4165-A3C8-EF0EC6DE1F37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27" name="矩形 13">
              <a:extLst>
                <a:ext uri="{FF2B5EF4-FFF2-40B4-BE49-F238E27FC236}">
                  <a16:creationId xmlns:a16="http://schemas.microsoft.com/office/drawing/2014/main" id="{A948AC6C-3900-47EE-9D2B-DAAC34E5977E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28" name="矩形 13">
              <a:extLst>
                <a:ext uri="{FF2B5EF4-FFF2-40B4-BE49-F238E27FC236}">
                  <a16:creationId xmlns:a16="http://schemas.microsoft.com/office/drawing/2014/main" id="{00E044ED-DB0C-4B5B-AA77-2ED06094E771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29" name="矩形 13">
              <a:extLst>
                <a:ext uri="{FF2B5EF4-FFF2-40B4-BE49-F238E27FC236}">
                  <a16:creationId xmlns:a16="http://schemas.microsoft.com/office/drawing/2014/main" id="{AF4BCC50-7A8D-4CF9-9D32-45E989EE069A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30" name="矩形 13">
              <a:extLst>
                <a:ext uri="{FF2B5EF4-FFF2-40B4-BE49-F238E27FC236}">
                  <a16:creationId xmlns:a16="http://schemas.microsoft.com/office/drawing/2014/main" id="{CE13758F-40BE-46B4-B658-12AE1F130F54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31" name="矩形 13">
              <a:extLst>
                <a:ext uri="{FF2B5EF4-FFF2-40B4-BE49-F238E27FC236}">
                  <a16:creationId xmlns:a16="http://schemas.microsoft.com/office/drawing/2014/main" id="{0F7F976C-16D5-4D99-9DA3-F8F819C590B4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32" name="矩形 13">
              <a:extLst>
                <a:ext uri="{FF2B5EF4-FFF2-40B4-BE49-F238E27FC236}">
                  <a16:creationId xmlns:a16="http://schemas.microsoft.com/office/drawing/2014/main" id="{4EC6DA09-C57C-4765-A960-35241AA4D022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33" name="矩形 13">
              <a:extLst>
                <a:ext uri="{FF2B5EF4-FFF2-40B4-BE49-F238E27FC236}">
                  <a16:creationId xmlns:a16="http://schemas.microsoft.com/office/drawing/2014/main" id="{3736C081-FFDA-43EE-911D-ED4CF1851E34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34" name="矩形 13">
              <a:extLst>
                <a:ext uri="{FF2B5EF4-FFF2-40B4-BE49-F238E27FC236}">
                  <a16:creationId xmlns:a16="http://schemas.microsoft.com/office/drawing/2014/main" id="{D7DD5600-BA67-4684-B31D-5D51E301D21F}"/>
                </a:ext>
              </a:extLst>
            </p:cNvPr>
            <p:cNvSpPr/>
            <p:nvPr/>
          </p:nvSpPr>
          <p:spPr>
            <a:xfrm>
              <a:off x="7811114" y="3415851"/>
              <a:ext cx="791510" cy="664398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35" name="矩形 13">
              <a:extLst>
                <a:ext uri="{FF2B5EF4-FFF2-40B4-BE49-F238E27FC236}">
                  <a16:creationId xmlns:a16="http://schemas.microsoft.com/office/drawing/2014/main" id="{BC3B5A4E-6C32-4D05-AF55-90FF1B2229EE}"/>
                </a:ext>
              </a:extLst>
            </p:cNvPr>
            <p:cNvSpPr/>
            <p:nvPr/>
          </p:nvSpPr>
          <p:spPr>
            <a:xfrm>
              <a:off x="7820945" y="4866463"/>
              <a:ext cx="791510" cy="664398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36" name="矩形 13">
              <a:extLst>
                <a:ext uri="{FF2B5EF4-FFF2-40B4-BE49-F238E27FC236}">
                  <a16:creationId xmlns:a16="http://schemas.microsoft.com/office/drawing/2014/main" id="{F88EA78A-8884-4B54-B1DC-FEF751661CA0}"/>
                </a:ext>
              </a:extLst>
            </p:cNvPr>
            <p:cNvSpPr/>
            <p:nvPr/>
          </p:nvSpPr>
          <p:spPr>
            <a:xfrm>
              <a:off x="7818707" y="4134866"/>
              <a:ext cx="791510" cy="664398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37" name="矩形 13">
              <a:extLst>
                <a:ext uri="{FF2B5EF4-FFF2-40B4-BE49-F238E27FC236}">
                  <a16:creationId xmlns:a16="http://schemas.microsoft.com/office/drawing/2014/main" id="{30D76234-18BB-4226-91F3-496541FDB173}"/>
                </a:ext>
              </a:extLst>
            </p:cNvPr>
            <p:cNvSpPr/>
            <p:nvPr/>
          </p:nvSpPr>
          <p:spPr>
            <a:xfrm>
              <a:off x="7823691" y="5596166"/>
              <a:ext cx="791510" cy="664398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190/233/238</a:t>
              </a:r>
            </a:p>
          </p:txBody>
        </p:sp>
        <p:sp>
          <p:nvSpPr>
            <p:cNvPr id="38" name="矩形 13">
              <a:extLst>
                <a:ext uri="{FF2B5EF4-FFF2-40B4-BE49-F238E27FC236}">
                  <a16:creationId xmlns:a16="http://schemas.microsoft.com/office/drawing/2014/main" id="{742E2780-BD5E-413B-9BE8-96DFFF8B5649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39" name="矩形 13">
              <a:extLst>
                <a:ext uri="{FF2B5EF4-FFF2-40B4-BE49-F238E27FC236}">
                  <a16:creationId xmlns:a16="http://schemas.microsoft.com/office/drawing/2014/main" id="{89CF25F0-ACC6-4FC4-948A-BCE4A802FD25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40" name="矩形 13">
              <a:extLst>
                <a:ext uri="{FF2B5EF4-FFF2-40B4-BE49-F238E27FC236}">
                  <a16:creationId xmlns:a16="http://schemas.microsoft.com/office/drawing/2014/main" id="{8D2EF9D5-EBCD-490B-B8B9-645C824F91AD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0/0/0</a:t>
              </a:r>
            </a:p>
          </p:txBody>
        </p:sp>
        <p:sp>
          <p:nvSpPr>
            <p:cNvPr id="41" name="矩形 13">
              <a:extLst>
                <a:ext uri="{FF2B5EF4-FFF2-40B4-BE49-F238E27FC236}">
                  <a16:creationId xmlns:a16="http://schemas.microsoft.com/office/drawing/2014/main" id="{0286ECB3-922D-48DD-AFE7-9C6E9060C6F2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42" name="矩形 13">
              <a:extLst>
                <a:ext uri="{FF2B5EF4-FFF2-40B4-BE49-F238E27FC236}">
                  <a16:creationId xmlns:a16="http://schemas.microsoft.com/office/drawing/2014/main" id="{26843338-C6AE-4E98-95C9-EA160CC2B30A}"/>
                </a:ext>
              </a:extLst>
            </p:cNvPr>
            <p:cNvSpPr/>
            <p:nvPr userDrawn="1"/>
          </p:nvSpPr>
          <p:spPr>
            <a:xfrm>
              <a:off x="6445335" y="6324024"/>
              <a:ext cx="513579" cy="664398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43" name="矩形 13">
              <a:extLst>
                <a:ext uri="{FF2B5EF4-FFF2-40B4-BE49-F238E27FC236}">
                  <a16:creationId xmlns:a16="http://schemas.microsoft.com/office/drawing/2014/main" id="{F41285F2-C98F-44DF-810D-AFDA8C2F7252}"/>
                </a:ext>
              </a:extLst>
            </p:cNvPr>
            <p:cNvSpPr/>
            <p:nvPr userDrawn="1"/>
          </p:nvSpPr>
          <p:spPr>
            <a:xfrm>
              <a:off x="7003279" y="6324024"/>
              <a:ext cx="513579" cy="664398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44" name="矩形 13">
              <a:extLst>
                <a:ext uri="{FF2B5EF4-FFF2-40B4-BE49-F238E27FC236}">
                  <a16:creationId xmlns:a16="http://schemas.microsoft.com/office/drawing/2014/main" id="{316800BF-7174-4B63-B993-7FF3F38E786A}"/>
                </a:ext>
              </a:extLst>
            </p:cNvPr>
            <p:cNvSpPr/>
            <p:nvPr userDrawn="1"/>
          </p:nvSpPr>
          <p:spPr>
            <a:xfrm>
              <a:off x="7551547" y="6324024"/>
              <a:ext cx="513579" cy="664398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45" name="矩形 13">
              <a:extLst>
                <a:ext uri="{FF2B5EF4-FFF2-40B4-BE49-F238E27FC236}">
                  <a16:creationId xmlns:a16="http://schemas.microsoft.com/office/drawing/2014/main" id="{E3AFA688-A359-4262-BC4E-961D2F75A295}"/>
                </a:ext>
              </a:extLst>
            </p:cNvPr>
            <p:cNvSpPr/>
            <p:nvPr userDrawn="1"/>
          </p:nvSpPr>
          <p:spPr>
            <a:xfrm>
              <a:off x="8098559" y="6324024"/>
              <a:ext cx="513579" cy="66439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5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11392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76" r:id="rId1"/>
    <p:sldLayoutId id="2147485777" r:id="rId2"/>
    <p:sldLayoutId id="2147485779" r:id="rId3"/>
    <p:sldLayoutId id="2147485780" r:id="rId4"/>
    <p:sldLayoutId id="2147485781" r:id="rId5"/>
    <p:sldLayoutId id="2147485782" r:id="rId6"/>
    <p:sldLayoutId id="2147485783" r:id="rId7"/>
    <p:sldLayoutId id="2147485784" r:id="rId8"/>
    <p:sldLayoutId id="2147485785" r:id="rId9"/>
    <p:sldLayoutId id="2147485786" r:id="rId10"/>
    <p:sldLayoutId id="2147485787" r:id="rId11"/>
    <p:sldLayoutId id="2147485789" r:id="rId12"/>
    <p:sldLayoutId id="2147485790" r:id="rId13"/>
    <p:sldLayoutId id="2147485793" r:id="rId14"/>
    <p:sldLayoutId id="2147485794" r:id="rId15"/>
    <p:sldLayoutId id="2147485796" r:id="rId16"/>
    <p:sldLayoutId id="2147485798" r:id="rId17"/>
    <p:sldLayoutId id="2147485799" r:id="rId18"/>
    <p:sldLayoutId id="2147485804" r:id="rId19"/>
    <p:sldLayoutId id="2147485805" r:id="rId20"/>
    <p:sldLayoutId id="2147485806" r:id="rId21"/>
    <p:sldLayoutId id="2147485807" r:id="rId22"/>
    <p:sldLayoutId id="2147485809" r:id="rId23"/>
    <p:sldLayoutId id="2147485811" r:id="rId24"/>
    <p:sldLayoutId id="2147485818" r:id="rId25"/>
    <p:sldLayoutId id="2147485820" r:id="rId26"/>
    <p:sldLayoutId id="2147485822" r:id="rId27"/>
    <p:sldLayoutId id="2147485823" r:id="rId28"/>
    <p:sldLayoutId id="2147485837" r:id="rId29"/>
    <p:sldLayoutId id="2147485838" r:id="rId30"/>
  </p:sldLayoutIdLst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56">
          <p15:clr>
            <a:srgbClr val="F26B43"/>
          </p15:clr>
        </p15:guide>
        <p15:guide id="2" pos="7216">
          <p15:clr>
            <a:srgbClr val="F26B43"/>
          </p15:clr>
        </p15:guide>
        <p15:guide id="3" orient="horz" pos="560">
          <p15:clr>
            <a:srgbClr val="F26B43"/>
          </p15:clr>
        </p15:guide>
        <p15:guide id="4" orient="horz" pos="728">
          <p15:clr>
            <a:srgbClr val="F26B43"/>
          </p15:clr>
        </p15:guide>
        <p15:guide id="5" orient="horz" pos="3968">
          <p15:clr>
            <a:srgbClr val="F26B43"/>
          </p15:clr>
        </p15:guide>
        <p15:guide id="6" orient="horz" pos="3800">
          <p15:clr>
            <a:srgbClr val="F26B43"/>
          </p15:clr>
        </p15:guide>
      </p15:sldGuideLst>
    </p:ext>
  </p:extLst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45F1158-B1AA-8F41-AF0A-FEA0EC1874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969" y="1467870"/>
            <a:ext cx="3984232" cy="281608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F8FC7CCD-75EB-9C44-BC7D-29679334A8CA}"/>
              </a:ext>
            </a:extLst>
          </p:cNvPr>
          <p:cNvSpPr txBox="1">
            <a:spLocks/>
          </p:cNvSpPr>
          <p:nvPr userDrawn="1"/>
        </p:nvSpPr>
        <p:spPr>
          <a:xfrm>
            <a:off x="7979357" y="2794960"/>
            <a:ext cx="3225168" cy="20299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065"/>
              </a:lnSpc>
            </a:pPr>
            <a:r>
              <a:rPr kumimoji="1" lang="en-US" altLang="zh-CN" sz="850" b="1" dirty="0">
                <a:solidFill>
                  <a:srgbClr val="1D1D1B"/>
                </a:solidFill>
                <a:latin typeface="Arial" panose="020B0604020202020204"/>
              </a:rPr>
              <a:t>Copyright©2018 Huawei Technologies Co., Ltd.</a:t>
            </a:r>
            <a:br>
              <a:rPr kumimoji="1" lang="en-US" altLang="zh-CN" sz="850" b="1" dirty="0">
                <a:solidFill>
                  <a:srgbClr val="1D1D1B"/>
                </a:solidFill>
                <a:latin typeface="Arial" panose="020B0604020202020204"/>
              </a:rPr>
            </a:br>
            <a:r>
              <a:rPr kumimoji="1" lang="en-US" altLang="zh-CN" sz="850" b="1" dirty="0">
                <a:solidFill>
                  <a:srgbClr val="1D1D1B"/>
                </a:solidFill>
                <a:latin typeface="Arial" panose="020B0604020202020204"/>
              </a:rPr>
              <a:t>All Rights Reserved.</a:t>
            </a:r>
            <a:br>
              <a:rPr kumimoji="1" lang="en-US" altLang="zh-CN" sz="779" dirty="0">
                <a:solidFill>
                  <a:srgbClr val="1D1D1B"/>
                </a:solidFill>
                <a:latin typeface="Arial" panose="020B0604020202020204"/>
              </a:rPr>
            </a:br>
            <a:br>
              <a:rPr kumimoji="1" lang="en-US" altLang="zh-CN" sz="779" dirty="0">
                <a:solidFill>
                  <a:srgbClr val="1D1D1B"/>
                </a:solidFill>
                <a:latin typeface="Arial" panose="020B0604020202020204"/>
              </a:rPr>
            </a:br>
            <a: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  <a:t>The information in this document may contain predictive </a:t>
            </a:r>
            <a:b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</a:br>
            <a: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  <a:t>statements including, without limitation, statements regarding </a:t>
            </a:r>
            <a:b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</a:br>
            <a: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  <a:t>the future financial and operating results, future product </a:t>
            </a:r>
            <a:b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</a:br>
            <a: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  <a:t>portfolio, new technology, etc. There are a number of factors that </a:t>
            </a:r>
            <a:b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</a:br>
            <a: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  <a:t>could cause actual results and developments to differ materially </a:t>
            </a:r>
            <a:b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</a:br>
            <a: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  <a:t>from those expressed or implied in the predictive statements. </a:t>
            </a:r>
            <a:b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</a:br>
            <a: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  <a:t>Therefore, such information is provided for reference purpose </a:t>
            </a:r>
            <a:b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</a:br>
            <a: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  <a:t>only and constitutes neither an offer nor an acceptance. Huawei </a:t>
            </a:r>
            <a:b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</a:br>
            <a:r>
              <a:rPr kumimoji="1" lang="en-US" altLang="zh-CN" sz="85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  <a:t>may change the information at any time without notice. </a:t>
            </a:r>
          </a:p>
          <a:p>
            <a:pPr>
              <a:lnSpc>
                <a:spcPts val="1065"/>
              </a:lnSpc>
            </a:pPr>
            <a:endParaRPr kumimoji="1" lang="zh-CN" altLang="en-US" sz="779" dirty="0">
              <a:solidFill>
                <a:srgbClr val="1D1D1B"/>
              </a:solidFill>
              <a:latin typeface="Arial" panose="020B0604020202020204"/>
            </a:endParaRPr>
          </a:p>
        </p:txBody>
      </p:sp>
      <p:sp>
        <p:nvSpPr>
          <p:cNvPr id="6" name="Subtitle 6">
            <a:extLst>
              <a:ext uri="{FF2B5EF4-FFF2-40B4-BE49-F238E27FC236}">
                <a16:creationId xmlns:a16="http://schemas.microsoft.com/office/drawing/2014/main" id="{12B8F806-ABD5-064C-8793-5E22C72554FD}"/>
              </a:ext>
            </a:extLst>
          </p:cNvPr>
          <p:cNvSpPr txBox="1">
            <a:spLocks/>
          </p:cNvSpPr>
          <p:nvPr userDrawn="1"/>
        </p:nvSpPr>
        <p:spPr>
          <a:xfrm>
            <a:off x="7987276" y="1631849"/>
            <a:ext cx="3477701" cy="49111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681"/>
              </a:lnSpc>
              <a:spcBef>
                <a:spcPts val="0"/>
              </a:spcBef>
            </a:pPr>
            <a:r>
              <a:rPr kumimoji="1" lang="zh-CN" altLang="en-US" sz="1300" dirty="0">
                <a:solidFill>
                  <a:srgbClr val="1D1D1B"/>
                </a:solidFill>
                <a:latin typeface="Microsoft YaHei" charset="-122"/>
                <a:ea typeface="Microsoft YaHei" charset="-122"/>
                <a:cs typeface="Microsoft YaHei" charset="-122"/>
              </a:rPr>
              <a:t>把数字世界带入每个人、每个家庭、</a:t>
            </a:r>
            <a:br>
              <a:rPr kumimoji="1" lang="en-US" altLang="zh-CN" sz="1300" dirty="0">
                <a:solidFill>
                  <a:srgbClr val="1D1D1B"/>
                </a:solidFill>
                <a:latin typeface="Microsoft YaHei" charset="-122"/>
                <a:ea typeface="Microsoft YaHei" charset="-122"/>
                <a:cs typeface="Microsoft YaHei" charset="-122"/>
              </a:rPr>
            </a:br>
            <a:r>
              <a:rPr kumimoji="1" lang="zh-CN" altLang="en-US" sz="1300" dirty="0">
                <a:solidFill>
                  <a:srgbClr val="1D1D1B"/>
                </a:solidFill>
                <a:latin typeface="Microsoft YaHei" charset="-122"/>
                <a:ea typeface="Microsoft YaHei" charset="-122"/>
                <a:cs typeface="Microsoft YaHei" charset="-122"/>
              </a:rPr>
              <a:t>每个组织，构建万物互联的智能世界。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F1235B6F-D691-2C40-93D4-EC5427ADDFB0}"/>
              </a:ext>
            </a:extLst>
          </p:cNvPr>
          <p:cNvSpPr txBox="1">
            <a:spLocks/>
          </p:cNvSpPr>
          <p:nvPr userDrawn="1"/>
        </p:nvSpPr>
        <p:spPr>
          <a:xfrm>
            <a:off x="7977672" y="2106124"/>
            <a:ext cx="3481833" cy="582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294"/>
              </a:lnSpc>
            </a:pPr>
            <a:r>
              <a:rPr kumimoji="1" lang="en-US" altLang="zh-CN" sz="120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  <a:t>Bring digital to every person, home and </a:t>
            </a:r>
            <a:br>
              <a:rPr kumimoji="1" lang="en-US" altLang="zh-CN" sz="120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</a:br>
            <a:r>
              <a:rPr kumimoji="1" lang="en-US" altLang="zh-CN" sz="120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  <a:t>organization for a fully connected, </a:t>
            </a:r>
            <a:br>
              <a:rPr kumimoji="1" lang="en-US" altLang="zh-CN" sz="120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</a:br>
            <a:r>
              <a:rPr kumimoji="1" lang="en-US" altLang="zh-CN" sz="1200" dirty="0">
                <a:solidFill>
                  <a:srgbClr val="1D1D1B"/>
                </a:solidFill>
                <a:latin typeface="Arial" panose="020B0604020202020204"/>
                <a:cs typeface="Arial" panose="020B0604020202020204" pitchFamily="34" charset="0"/>
              </a:rPr>
              <a:t>intelligent world.</a:t>
            </a:r>
            <a:endParaRPr kumimoji="1" lang="zh-CN" altLang="en-US" sz="1200" dirty="0">
              <a:solidFill>
                <a:srgbClr val="1D1D1B"/>
              </a:solidFill>
              <a:latin typeface="Arial" panose="020B0604020202020204"/>
              <a:ea typeface="Microsoft YaHei" charset="-122"/>
              <a:cs typeface="Microsoft YaHei" charset="-122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A792140-33FB-E045-9071-EE8DB65F2A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3676" y="5237566"/>
            <a:ext cx="1875600" cy="405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688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40" r:id="rId1"/>
  </p:sldLayoutIdLst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000" b="0" kern="1200">
          <a:solidFill>
            <a:schemeClr val="tx1"/>
          </a:solidFill>
          <a:latin typeface="Arial" panose="020B0604020202020204" pitchFamily="34" charset="0"/>
          <a:ea typeface="Microsoft YaHei" panose="020B0503020204020204" pitchFamily="34" charset="-122"/>
          <a:cs typeface="Arial" panose="020B0604020202020204" pitchFamily="34" charset="0"/>
        </a:defRPr>
      </a:lvl1pPr>
    </p:titleStyle>
    <p:bodyStyle>
      <a:lvl1pPr marL="0" indent="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None/>
        <a:defRPr sz="1819" kern="1200">
          <a:solidFill>
            <a:srgbClr val="FFFFFF"/>
          </a:solidFill>
          <a:latin typeface="Microsoft YaHei" panose="020B0503020204020204" pitchFamily="34" charset="-122"/>
          <a:ea typeface="Microsoft YaHei" panose="020B0503020204020204" pitchFamily="34" charset="-122"/>
          <a:cs typeface="+mn-cs"/>
        </a:defRPr>
      </a:lvl1pPr>
      <a:lvl2pPr marL="593900" indent="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indent="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indent="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indent="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28543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dirty="0">
                <a:solidFill>
                  <a:srgbClr val="1D1D1B"/>
                </a:solidFill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cs typeface="Arial" panose="020B0604020202020204" pitchFamily="34" charset="0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  <p:grpSp>
        <p:nvGrpSpPr>
          <p:cNvPr id="5" name="Group 87">
            <a:extLst>
              <a:ext uri="{FF2B5EF4-FFF2-40B4-BE49-F238E27FC236}">
                <a16:creationId xmlns:a16="http://schemas.microsoft.com/office/drawing/2014/main" id="{CBB91E99-E194-4FBA-98E8-C8C541AFAD7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0" y="2625389"/>
            <a:ext cx="1967973" cy="4233515"/>
            <a:chOff x="5343885" y="-48857"/>
            <a:chExt cx="3271316" cy="7037279"/>
          </a:xfrm>
        </p:grpSpPr>
        <p:sp>
          <p:nvSpPr>
            <p:cNvPr id="6" name="矩形 13">
              <a:extLst>
                <a:ext uri="{FF2B5EF4-FFF2-40B4-BE49-F238E27FC236}">
                  <a16:creationId xmlns:a16="http://schemas.microsoft.com/office/drawing/2014/main" id="{87062D29-4B3D-43C6-B2F4-87266745F218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7" name="文本框 15">
              <a:extLst>
                <a:ext uri="{FF2B5EF4-FFF2-40B4-BE49-F238E27FC236}">
                  <a16:creationId xmlns:a16="http://schemas.microsoft.com/office/drawing/2014/main" id="{CF04794B-0451-4AF0-8B15-8E5F7B62486B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8" name="矩形 13">
              <a:extLst>
                <a:ext uri="{FF2B5EF4-FFF2-40B4-BE49-F238E27FC236}">
                  <a16:creationId xmlns:a16="http://schemas.microsoft.com/office/drawing/2014/main" id="{0DBE7A85-19E5-4416-A13E-6FDDFBF0D93F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" name="矩形 13">
              <a:extLst>
                <a:ext uri="{FF2B5EF4-FFF2-40B4-BE49-F238E27FC236}">
                  <a16:creationId xmlns:a16="http://schemas.microsoft.com/office/drawing/2014/main" id="{D0D35BE3-9F1D-49FC-BF5E-47C6902D7165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10" name="矩形 13">
              <a:extLst>
                <a:ext uri="{FF2B5EF4-FFF2-40B4-BE49-F238E27FC236}">
                  <a16:creationId xmlns:a16="http://schemas.microsoft.com/office/drawing/2014/main" id="{A556DFAA-1C6B-4B48-AC0A-CF59626865DB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11" name="矩形 13">
              <a:extLst>
                <a:ext uri="{FF2B5EF4-FFF2-40B4-BE49-F238E27FC236}">
                  <a16:creationId xmlns:a16="http://schemas.microsoft.com/office/drawing/2014/main" id="{425D8B17-2E6F-4DA0-98F8-4FA5B19A7F99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12" name="矩形 13">
              <a:extLst>
                <a:ext uri="{FF2B5EF4-FFF2-40B4-BE49-F238E27FC236}">
                  <a16:creationId xmlns:a16="http://schemas.microsoft.com/office/drawing/2014/main" id="{18E165AF-76C3-4826-9D25-C14CD69C9C28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13" name="矩形 13">
              <a:extLst>
                <a:ext uri="{FF2B5EF4-FFF2-40B4-BE49-F238E27FC236}">
                  <a16:creationId xmlns:a16="http://schemas.microsoft.com/office/drawing/2014/main" id="{7402DD78-561C-4E4A-9131-56F32E913BA0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5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14" name="文本框 15">
              <a:extLst>
                <a:ext uri="{FF2B5EF4-FFF2-40B4-BE49-F238E27FC236}">
                  <a16:creationId xmlns:a16="http://schemas.microsoft.com/office/drawing/2014/main" id="{7BE7850B-DB89-4939-8B9F-08E87A592B05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15" name="矩形 13">
              <a:extLst>
                <a:ext uri="{FF2B5EF4-FFF2-40B4-BE49-F238E27FC236}">
                  <a16:creationId xmlns:a16="http://schemas.microsoft.com/office/drawing/2014/main" id="{4821ECEB-5DCD-4780-8BA6-E48654F5DB65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6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16" name="矩形 13">
              <a:extLst>
                <a:ext uri="{FF2B5EF4-FFF2-40B4-BE49-F238E27FC236}">
                  <a16:creationId xmlns:a16="http://schemas.microsoft.com/office/drawing/2014/main" id="{648D93AC-ED6F-4DF5-A58B-A8DB369F7E3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7" name="矩形 13">
              <a:extLst>
                <a:ext uri="{FF2B5EF4-FFF2-40B4-BE49-F238E27FC236}">
                  <a16:creationId xmlns:a16="http://schemas.microsoft.com/office/drawing/2014/main" id="{E3E6EC3D-1867-4ECC-9F16-D29D3271CF3A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8" name="矩形 13">
              <a:extLst>
                <a:ext uri="{FF2B5EF4-FFF2-40B4-BE49-F238E27FC236}">
                  <a16:creationId xmlns:a16="http://schemas.microsoft.com/office/drawing/2014/main" id="{F5E34584-5D8D-4E4C-8F52-24B9319EC2F4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9" name="矩形 13">
              <a:extLst>
                <a:ext uri="{FF2B5EF4-FFF2-40B4-BE49-F238E27FC236}">
                  <a16:creationId xmlns:a16="http://schemas.microsoft.com/office/drawing/2014/main" id="{861F380C-7EE2-4915-A1B4-2DEC2F665DCD}"/>
                </a:ext>
              </a:extLst>
            </p:cNvPr>
            <p:cNvSpPr/>
            <p:nvPr userDrawn="1"/>
          </p:nvSpPr>
          <p:spPr>
            <a:xfrm>
              <a:off x="6184543" y="4866463"/>
              <a:ext cx="791510" cy="664398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20" name="矩形 13">
              <a:extLst>
                <a:ext uri="{FF2B5EF4-FFF2-40B4-BE49-F238E27FC236}">
                  <a16:creationId xmlns:a16="http://schemas.microsoft.com/office/drawing/2014/main" id="{FB920400-BC53-45C0-8624-91B8E82BC5D2}"/>
                </a:ext>
              </a:extLst>
            </p:cNvPr>
            <p:cNvSpPr/>
            <p:nvPr userDrawn="1"/>
          </p:nvSpPr>
          <p:spPr>
            <a:xfrm>
              <a:off x="6182308" y="4134866"/>
              <a:ext cx="791510" cy="664398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21" name="矩形 13">
              <a:extLst>
                <a:ext uri="{FF2B5EF4-FFF2-40B4-BE49-F238E27FC236}">
                  <a16:creationId xmlns:a16="http://schemas.microsoft.com/office/drawing/2014/main" id="{31078EDC-4A9F-43A4-9BA9-907569D85C92}"/>
                </a:ext>
              </a:extLst>
            </p:cNvPr>
            <p:cNvSpPr/>
            <p:nvPr userDrawn="1"/>
          </p:nvSpPr>
          <p:spPr>
            <a:xfrm>
              <a:off x="6177324" y="5596166"/>
              <a:ext cx="791510" cy="664398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22" name="矩形 13">
              <a:extLst>
                <a:ext uri="{FF2B5EF4-FFF2-40B4-BE49-F238E27FC236}">
                  <a16:creationId xmlns:a16="http://schemas.microsoft.com/office/drawing/2014/main" id="{BF5ECD26-9AAC-4B7D-B7B9-5D3E0A2E9DA4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23" name="矩形 13">
              <a:extLst>
                <a:ext uri="{FF2B5EF4-FFF2-40B4-BE49-F238E27FC236}">
                  <a16:creationId xmlns:a16="http://schemas.microsoft.com/office/drawing/2014/main" id="{9D857771-ACBB-41B6-8066-2ED34322E55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24" name="矩形 13">
              <a:extLst>
                <a:ext uri="{FF2B5EF4-FFF2-40B4-BE49-F238E27FC236}">
                  <a16:creationId xmlns:a16="http://schemas.microsoft.com/office/drawing/2014/main" id="{E5C2B2E4-7360-4919-AFF0-3278A14D20A3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25" name="矩形 13">
              <a:extLst>
                <a:ext uri="{FF2B5EF4-FFF2-40B4-BE49-F238E27FC236}">
                  <a16:creationId xmlns:a16="http://schemas.microsoft.com/office/drawing/2014/main" id="{205FF6C6-9AD5-4A14-97CD-DCA40CA434F5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26" name="矩形 13">
              <a:extLst>
                <a:ext uri="{FF2B5EF4-FFF2-40B4-BE49-F238E27FC236}">
                  <a16:creationId xmlns:a16="http://schemas.microsoft.com/office/drawing/2014/main" id="{569590BE-ACA3-4165-A3C8-EF0EC6DE1F37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27" name="矩形 13">
              <a:extLst>
                <a:ext uri="{FF2B5EF4-FFF2-40B4-BE49-F238E27FC236}">
                  <a16:creationId xmlns:a16="http://schemas.microsoft.com/office/drawing/2014/main" id="{A948AC6C-3900-47EE-9D2B-DAAC34E5977E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28" name="矩形 13">
              <a:extLst>
                <a:ext uri="{FF2B5EF4-FFF2-40B4-BE49-F238E27FC236}">
                  <a16:creationId xmlns:a16="http://schemas.microsoft.com/office/drawing/2014/main" id="{00E044ED-DB0C-4B5B-AA77-2ED06094E771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29" name="矩形 13">
              <a:extLst>
                <a:ext uri="{FF2B5EF4-FFF2-40B4-BE49-F238E27FC236}">
                  <a16:creationId xmlns:a16="http://schemas.microsoft.com/office/drawing/2014/main" id="{AF4BCC50-7A8D-4CF9-9D32-45E989EE069A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30" name="矩形 13">
              <a:extLst>
                <a:ext uri="{FF2B5EF4-FFF2-40B4-BE49-F238E27FC236}">
                  <a16:creationId xmlns:a16="http://schemas.microsoft.com/office/drawing/2014/main" id="{CE13758F-40BE-46B4-B658-12AE1F130F54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31" name="矩形 13">
              <a:extLst>
                <a:ext uri="{FF2B5EF4-FFF2-40B4-BE49-F238E27FC236}">
                  <a16:creationId xmlns:a16="http://schemas.microsoft.com/office/drawing/2014/main" id="{0F7F976C-16D5-4D99-9DA3-F8F819C590B4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32" name="矩形 13">
              <a:extLst>
                <a:ext uri="{FF2B5EF4-FFF2-40B4-BE49-F238E27FC236}">
                  <a16:creationId xmlns:a16="http://schemas.microsoft.com/office/drawing/2014/main" id="{4EC6DA09-C57C-4765-A960-35241AA4D022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33" name="矩形 13">
              <a:extLst>
                <a:ext uri="{FF2B5EF4-FFF2-40B4-BE49-F238E27FC236}">
                  <a16:creationId xmlns:a16="http://schemas.microsoft.com/office/drawing/2014/main" id="{3736C081-FFDA-43EE-911D-ED4CF1851E34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34" name="矩形 13">
              <a:extLst>
                <a:ext uri="{FF2B5EF4-FFF2-40B4-BE49-F238E27FC236}">
                  <a16:creationId xmlns:a16="http://schemas.microsoft.com/office/drawing/2014/main" id="{D7DD5600-BA67-4684-B31D-5D51E301D21F}"/>
                </a:ext>
              </a:extLst>
            </p:cNvPr>
            <p:cNvSpPr/>
            <p:nvPr/>
          </p:nvSpPr>
          <p:spPr>
            <a:xfrm>
              <a:off x="7811114" y="3415851"/>
              <a:ext cx="791510" cy="664398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35" name="矩形 13">
              <a:extLst>
                <a:ext uri="{FF2B5EF4-FFF2-40B4-BE49-F238E27FC236}">
                  <a16:creationId xmlns:a16="http://schemas.microsoft.com/office/drawing/2014/main" id="{BC3B5A4E-6C32-4D05-AF55-90FF1B2229EE}"/>
                </a:ext>
              </a:extLst>
            </p:cNvPr>
            <p:cNvSpPr/>
            <p:nvPr/>
          </p:nvSpPr>
          <p:spPr>
            <a:xfrm>
              <a:off x="7820945" y="4866463"/>
              <a:ext cx="791510" cy="664398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36" name="矩形 13">
              <a:extLst>
                <a:ext uri="{FF2B5EF4-FFF2-40B4-BE49-F238E27FC236}">
                  <a16:creationId xmlns:a16="http://schemas.microsoft.com/office/drawing/2014/main" id="{F88EA78A-8884-4B54-B1DC-FEF751661CA0}"/>
                </a:ext>
              </a:extLst>
            </p:cNvPr>
            <p:cNvSpPr/>
            <p:nvPr/>
          </p:nvSpPr>
          <p:spPr>
            <a:xfrm>
              <a:off x="7818707" y="4134866"/>
              <a:ext cx="791510" cy="664398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37" name="矩形 13">
              <a:extLst>
                <a:ext uri="{FF2B5EF4-FFF2-40B4-BE49-F238E27FC236}">
                  <a16:creationId xmlns:a16="http://schemas.microsoft.com/office/drawing/2014/main" id="{30D76234-18BB-4226-91F3-496541FDB173}"/>
                </a:ext>
              </a:extLst>
            </p:cNvPr>
            <p:cNvSpPr/>
            <p:nvPr/>
          </p:nvSpPr>
          <p:spPr>
            <a:xfrm>
              <a:off x="7823691" y="5596166"/>
              <a:ext cx="791510" cy="664398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190/233/238</a:t>
              </a:r>
            </a:p>
          </p:txBody>
        </p:sp>
        <p:sp>
          <p:nvSpPr>
            <p:cNvPr id="38" name="矩形 13">
              <a:extLst>
                <a:ext uri="{FF2B5EF4-FFF2-40B4-BE49-F238E27FC236}">
                  <a16:creationId xmlns:a16="http://schemas.microsoft.com/office/drawing/2014/main" id="{742E2780-BD5E-413B-9BE8-96DFFF8B5649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39" name="矩形 13">
              <a:extLst>
                <a:ext uri="{FF2B5EF4-FFF2-40B4-BE49-F238E27FC236}">
                  <a16:creationId xmlns:a16="http://schemas.microsoft.com/office/drawing/2014/main" id="{89CF25F0-ACC6-4FC4-948A-BCE4A802FD25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40" name="矩形 13">
              <a:extLst>
                <a:ext uri="{FF2B5EF4-FFF2-40B4-BE49-F238E27FC236}">
                  <a16:creationId xmlns:a16="http://schemas.microsoft.com/office/drawing/2014/main" id="{8D2EF9D5-EBCD-490B-B8B9-645C824F91AD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0/0/0</a:t>
              </a:r>
            </a:p>
          </p:txBody>
        </p:sp>
        <p:sp>
          <p:nvSpPr>
            <p:cNvPr id="41" name="矩形 13">
              <a:extLst>
                <a:ext uri="{FF2B5EF4-FFF2-40B4-BE49-F238E27FC236}">
                  <a16:creationId xmlns:a16="http://schemas.microsoft.com/office/drawing/2014/main" id="{0286ECB3-922D-48DD-AFE7-9C6E9060C6F2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42" name="矩形 13">
              <a:extLst>
                <a:ext uri="{FF2B5EF4-FFF2-40B4-BE49-F238E27FC236}">
                  <a16:creationId xmlns:a16="http://schemas.microsoft.com/office/drawing/2014/main" id="{26843338-C6AE-4E98-95C9-EA160CC2B30A}"/>
                </a:ext>
              </a:extLst>
            </p:cNvPr>
            <p:cNvSpPr/>
            <p:nvPr userDrawn="1"/>
          </p:nvSpPr>
          <p:spPr>
            <a:xfrm>
              <a:off x="6445335" y="6324024"/>
              <a:ext cx="513579" cy="664398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43" name="矩形 13">
              <a:extLst>
                <a:ext uri="{FF2B5EF4-FFF2-40B4-BE49-F238E27FC236}">
                  <a16:creationId xmlns:a16="http://schemas.microsoft.com/office/drawing/2014/main" id="{F41285F2-C98F-44DF-810D-AFDA8C2F7252}"/>
                </a:ext>
              </a:extLst>
            </p:cNvPr>
            <p:cNvSpPr/>
            <p:nvPr userDrawn="1"/>
          </p:nvSpPr>
          <p:spPr>
            <a:xfrm>
              <a:off x="7003279" y="6324024"/>
              <a:ext cx="513579" cy="664398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44" name="矩形 13">
              <a:extLst>
                <a:ext uri="{FF2B5EF4-FFF2-40B4-BE49-F238E27FC236}">
                  <a16:creationId xmlns:a16="http://schemas.microsoft.com/office/drawing/2014/main" id="{316800BF-7174-4B63-B993-7FF3F38E786A}"/>
                </a:ext>
              </a:extLst>
            </p:cNvPr>
            <p:cNvSpPr/>
            <p:nvPr userDrawn="1"/>
          </p:nvSpPr>
          <p:spPr>
            <a:xfrm>
              <a:off x="7551547" y="6324024"/>
              <a:ext cx="513579" cy="664398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45" name="矩形 13">
              <a:extLst>
                <a:ext uri="{FF2B5EF4-FFF2-40B4-BE49-F238E27FC236}">
                  <a16:creationId xmlns:a16="http://schemas.microsoft.com/office/drawing/2014/main" id="{E3AFA688-A359-4262-BC4E-961D2F75A295}"/>
                </a:ext>
              </a:extLst>
            </p:cNvPr>
            <p:cNvSpPr/>
            <p:nvPr userDrawn="1"/>
          </p:nvSpPr>
          <p:spPr>
            <a:xfrm>
              <a:off x="8098559" y="6324024"/>
              <a:ext cx="513579" cy="66439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5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6957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44" r:id="rId1"/>
  </p:sldLayoutIdLst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62">
          <p15:clr>
            <a:srgbClr val="F26B43"/>
          </p15:clr>
        </p15:guide>
        <p15:guide id="2" pos="7216">
          <p15:clr>
            <a:srgbClr val="F26B43"/>
          </p15:clr>
        </p15:guide>
        <p15:guide id="3" orient="horz" pos="550">
          <p15:clr>
            <a:srgbClr val="F26B43"/>
          </p15:clr>
        </p15:guide>
        <p15:guide id="4" orient="horz" pos="731">
          <p15:clr>
            <a:srgbClr val="F26B43"/>
          </p15:clr>
        </p15:guide>
        <p15:guide id="5" orient="horz" pos="3974">
          <p15:clr>
            <a:srgbClr val="F26B43"/>
          </p15:clr>
        </p15:guide>
        <p15:guide id="6" orient="horz" pos="3816">
          <p15:clr>
            <a:srgbClr val="F26B43"/>
          </p15:clr>
        </p15:guide>
      </p15:sldGuideLst>
    </p:ext>
  </p:extLst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35039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Proprietary - Restricted Distribution</a:t>
            </a:r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7333705-F8D6-2847-B3CB-F2FAB51E2A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0" y="2625389"/>
            <a:ext cx="1967973" cy="4233515"/>
            <a:chOff x="5343885" y="-48857"/>
            <a:chExt cx="3271316" cy="7037279"/>
          </a:xfrm>
        </p:grpSpPr>
        <p:sp>
          <p:nvSpPr>
            <p:cNvPr id="89" name="矩形 13">
              <a:extLst>
                <a:ext uri="{FF2B5EF4-FFF2-40B4-BE49-F238E27FC236}">
                  <a16:creationId xmlns:a16="http://schemas.microsoft.com/office/drawing/2014/main" id="{B14DFA89-D483-CF47-82CC-DD86D7CAB09E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90" name="文本框 15">
              <a:extLst>
                <a:ext uri="{FF2B5EF4-FFF2-40B4-BE49-F238E27FC236}">
                  <a16:creationId xmlns:a16="http://schemas.microsoft.com/office/drawing/2014/main" id="{8223ADA0-340A-794B-93B7-24AFF612A719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91" name="矩形 13">
              <a:extLst>
                <a:ext uri="{FF2B5EF4-FFF2-40B4-BE49-F238E27FC236}">
                  <a16:creationId xmlns:a16="http://schemas.microsoft.com/office/drawing/2014/main" id="{5F63E0E3-4F22-7948-AB1A-40A84ECA92EC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2" name="矩形 13">
              <a:extLst>
                <a:ext uri="{FF2B5EF4-FFF2-40B4-BE49-F238E27FC236}">
                  <a16:creationId xmlns:a16="http://schemas.microsoft.com/office/drawing/2014/main" id="{29C4A3C6-7C7B-7140-8F73-591E9F49143F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93" name="矩形 13">
              <a:extLst>
                <a:ext uri="{FF2B5EF4-FFF2-40B4-BE49-F238E27FC236}">
                  <a16:creationId xmlns:a16="http://schemas.microsoft.com/office/drawing/2014/main" id="{BE4C9A8D-46B0-5B40-BC47-DB6C4899227F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94" name="矩形 13">
              <a:extLst>
                <a:ext uri="{FF2B5EF4-FFF2-40B4-BE49-F238E27FC236}">
                  <a16:creationId xmlns:a16="http://schemas.microsoft.com/office/drawing/2014/main" id="{612F2ED4-F7A4-9E48-95E1-8D07B3BBE962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95" name="矩形 13">
              <a:extLst>
                <a:ext uri="{FF2B5EF4-FFF2-40B4-BE49-F238E27FC236}">
                  <a16:creationId xmlns:a16="http://schemas.microsoft.com/office/drawing/2014/main" id="{A9E1D476-C288-8945-A68A-1F20C557294B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6" name="矩形 13">
              <a:extLst>
                <a:ext uri="{FF2B5EF4-FFF2-40B4-BE49-F238E27FC236}">
                  <a16:creationId xmlns:a16="http://schemas.microsoft.com/office/drawing/2014/main" id="{42823EBB-E62E-F149-AC9A-09950051F283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5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97" name="文本框 15">
              <a:extLst>
                <a:ext uri="{FF2B5EF4-FFF2-40B4-BE49-F238E27FC236}">
                  <a16:creationId xmlns:a16="http://schemas.microsoft.com/office/drawing/2014/main" id="{EA01C299-6FF2-3642-AAEC-A1DF62D9C654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98" name="矩形 13">
              <a:extLst>
                <a:ext uri="{FF2B5EF4-FFF2-40B4-BE49-F238E27FC236}">
                  <a16:creationId xmlns:a16="http://schemas.microsoft.com/office/drawing/2014/main" id="{B84AB502-165F-764A-9621-65CA8CBBEAEA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6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99" name="矩形 13">
              <a:extLst>
                <a:ext uri="{FF2B5EF4-FFF2-40B4-BE49-F238E27FC236}">
                  <a16:creationId xmlns:a16="http://schemas.microsoft.com/office/drawing/2014/main" id="{CB8870E8-3E95-764C-B621-A168E194CC7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00" name="矩形 13">
              <a:extLst>
                <a:ext uri="{FF2B5EF4-FFF2-40B4-BE49-F238E27FC236}">
                  <a16:creationId xmlns:a16="http://schemas.microsoft.com/office/drawing/2014/main" id="{356EF69A-1936-544F-A95F-0664F4E186D5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01" name="矩形 13">
              <a:extLst>
                <a:ext uri="{FF2B5EF4-FFF2-40B4-BE49-F238E27FC236}">
                  <a16:creationId xmlns:a16="http://schemas.microsoft.com/office/drawing/2014/main" id="{03EBAB43-95A5-1C4A-8458-B86EB3D51FCA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02" name="矩形 13">
              <a:extLst>
                <a:ext uri="{FF2B5EF4-FFF2-40B4-BE49-F238E27FC236}">
                  <a16:creationId xmlns:a16="http://schemas.microsoft.com/office/drawing/2014/main" id="{371A8520-F934-304C-B57F-B49F768694E2}"/>
                </a:ext>
              </a:extLst>
            </p:cNvPr>
            <p:cNvSpPr/>
            <p:nvPr userDrawn="1"/>
          </p:nvSpPr>
          <p:spPr>
            <a:xfrm>
              <a:off x="6184543" y="4866463"/>
              <a:ext cx="791510" cy="664398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103" name="矩形 13">
              <a:extLst>
                <a:ext uri="{FF2B5EF4-FFF2-40B4-BE49-F238E27FC236}">
                  <a16:creationId xmlns:a16="http://schemas.microsoft.com/office/drawing/2014/main" id="{B83004D7-279B-C14E-9FCF-870FA1B74FDF}"/>
                </a:ext>
              </a:extLst>
            </p:cNvPr>
            <p:cNvSpPr/>
            <p:nvPr userDrawn="1"/>
          </p:nvSpPr>
          <p:spPr>
            <a:xfrm>
              <a:off x="6182308" y="4134866"/>
              <a:ext cx="791510" cy="664398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104" name="矩形 13">
              <a:extLst>
                <a:ext uri="{FF2B5EF4-FFF2-40B4-BE49-F238E27FC236}">
                  <a16:creationId xmlns:a16="http://schemas.microsoft.com/office/drawing/2014/main" id="{99635968-4E69-CC41-9D78-6DF253FE3035}"/>
                </a:ext>
              </a:extLst>
            </p:cNvPr>
            <p:cNvSpPr/>
            <p:nvPr userDrawn="1"/>
          </p:nvSpPr>
          <p:spPr>
            <a:xfrm>
              <a:off x="6177324" y="5596166"/>
              <a:ext cx="791510" cy="664398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105" name="矩形 13">
              <a:extLst>
                <a:ext uri="{FF2B5EF4-FFF2-40B4-BE49-F238E27FC236}">
                  <a16:creationId xmlns:a16="http://schemas.microsoft.com/office/drawing/2014/main" id="{BDBE4949-07B7-F046-AD95-68E4B0C11CCD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106" name="矩形 13">
              <a:extLst>
                <a:ext uri="{FF2B5EF4-FFF2-40B4-BE49-F238E27FC236}">
                  <a16:creationId xmlns:a16="http://schemas.microsoft.com/office/drawing/2014/main" id="{AA9F9E00-6A31-F14B-A2E4-79908835FD1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107" name="矩形 13">
              <a:extLst>
                <a:ext uri="{FF2B5EF4-FFF2-40B4-BE49-F238E27FC236}">
                  <a16:creationId xmlns:a16="http://schemas.microsoft.com/office/drawing/2014/main" id="{38715A31-485E-B744-B409-43F9F04B48F7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108" name="矩形 13">
              <a:extLst>
                <a:ext uri="{FF2B5EF4-FFF2-40B4-BE49-F238E27FC236}">
                  <a16:creationId xmlns:a16="http://schemas.microsoft.com/office/drawing/2014/main" id="{4AE1609B-25DD-2C4A-B05B-D18ADBC39C71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109" name="矩形 13">
              <a:extLst>
                <a:ext uri="{FF2B5EF4-FFF2-40B4-BE49-F238E27FC236}">
                  <a16:creationId xmlns:a16="http://schemas.microsoft.com/office/drawing/2014/main" id="{ECE90F9F-DBBC-0B49-A42C-8B62397E473E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0" name="矩形 13">
              <a:extLst>
                <a:ext uri="{FF2B5EF4-FFF2-40B4-BE49-F238E27FC236}">
                  <a16:creationId xmlns:a16="http://schemas.microsoft.com/office/drawing/2014/main" id="{D5B387BA-F8B8-B54E-966E-F24E271747C4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111" name="矩形 13">
              <a:extLst>
                <a:ext uri="{FF2B5EF4-FFF2-40B4-BE49-F238E27FC236}">
                  <a16:creationId xmlns:a16="http://schemas.microsoft.com/office/drawing/2014/main" id="{E6C9B99E-8C1C-2B49-B82E-3C754B8E5C02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112" name="矩形 13">
              <a:extLst>
                <a:ext uri="{FF2B5EF4-FFF2-40B4-BE49-F238E27FC236}">
                  <a16:creationId xmlns:a16="http://schemas.microsoft.com/office/drawing/2014/main" id="{0106BFA2-9DE1-3A42-A6C6-69BCE0FA34F4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113" name="矩形 13">
              <a:extLst>
                <a:ext uri="{FF2B5EF4-FFF2-40B4-BE49-F238E27FC236}">
                  <a16:creationId xmlns:a16="http://schemas.microsoft.com/office/drawing/2014/main" id="{F760C1C5-4342-C346-A7D2-D101978EDF66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114" name="矩形 13">
              <a:extLst>
                <a:ext uri="{FF2B5EF4-FFF2-40B4-BE49-F238E27FC236}">
                  <a16:creationId xmlns:a16="http://schemas.microsoft.com/office/drawing/2014/main" id="{5BB50A4A-0B64-7E4C-824C-1EBCA1A992CF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115" name="矩形 13">
              <a:extLst>
                <a:ext uri="{FF2B5EF4-FFF2-40B4-BE49-F238E27FC236}">
                  <a16:creationId xmlns:a16="http://schemas.microsoft.com/office/drawing/2014/main" id="{756A7E25-6C44-8A44-A8C5-61D19BC9EDAF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116" name="矩形 13">
              <a:extLst>
                <a:ext uri="{FF2B5EF4-FFF2-40B4-BE49-F238E27FC236}">
                  <a16:creationId xmlns:a16="http://schemas.microsoft.com/office/drawing/2014/main" id="{96588389-39CD-DF4E-B9AC-92091E25724E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117" name="矩形 13">
              <a:extLst>
                <a:ext uri="{FF2B5EF4-FFF2-40B4-BE49-F238E27FC236}">
                  <a16:creationId xmlns:a16="http://schemas.microsoft.com/office/drawing/2014/main" id="{20725C9F-31AE-DB44-B70A-B4ECDEC0BC00}"/>
                </a:ext>
              </a:extLst>
            </p:cNvPr>
            <p:cNvSpPr/>
            <p:nvPr/>
          </p:nvSpPr>
          <p:spPr>
            <a:xfrm>
              <a:off x="7811114" y="3415851"/>
              <a:ext cx="791510" cy="664398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8" name="矩形 13">
              <a:extLst>
                <a:ext uri="{FF2B5EF4-FFF2-40B4-BE49-F238E27FC236}">
                  <a16:creationId xmlns:a16="http://schemas.microsoft.com/office/drawing/2014/main" id="{AC5BCC27-B68D-0743-8E0B-E25F8D01C3A4}"/>
                </a:ext>
              </a:extLst>
            </p:cNvPr>
            <p:cNvSpPr/>
            <p:nvPr/>
          </p:nvSpPr>
          <p:spPr>
            <a:xfrm>
              <a:off x="7820945" y="4866463"/>
              <a:ext cx="791510" cy="664398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119" name="矩形 13">
              <a:extLst>
                <a:ext uri="{FF2B5EF4-FFF2-40B4-BE49-F238E27FC236}">
                  <a16:creationId xmlns:a16="http://schemas.microsoft.com/office/drawing/2014/main" id="{51C2E83A-C975-6945-B2FD-5B22BBB53DB7}"/>
                </a:ext>
              </a:extLst>
            </p:cNvPr>
            <p:cNvSpPr/>
            <p:nvPr/>
          </p:nvSpPr>
          <p:spPr>
            <a:xfrm>
              <a:off x="7818707" y="4134866"/>
              <a:ext cx="791510" cy="664398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120" name="矩形 13">
              <a:extLst>
                <a:ext uri="{FF2B5EF4-FFF2-40B4-BE49-F238E27FC236}">
                  <a16:creationId xmlns:a16="http://schemas.microsoft.com/office/drawing/2014/main" id="{BEE9A95F-6965-354F-A2C7-2E8C81DDA52F}"/>
                </a:ext>
              </a:extLst>
            </p:cNvPr>
            <p:cNvSpPr/>
            <p:nvPr/>
          </p:nvSpPr>
          <p:spPr>
            <a:xfrm>
              <a:off x="7823691" y="5596166"/>
              <a:ext cx="791510" cy="664398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190/233/238</a:t>
              </a:r>
            </a:p>
          </p:txBody>
        </p:sp>
        <p:sp>
          <p:nvSpPr>
            <p:cNvPr id="121" name="矩形 13">
              <a:extLst>
                <a:ext uri="{FF2B5EF4-FFF2-40B4-BE49-F238E27FC236}">
                  <a16:creationId xmlns:a16="http://schemas.microsoft.com/office/drawing/2014/main" id="{509164EB-3DC4-7A4F-9E7C-06EBC981CD0A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122" name="矩形 13">
              <a:extLst>
                <a:ext uri="{FF2B5EF4-FFF2-40B4-BE49-F238E27FC236}">
                  <a16:creationId xmlns:a16="http://schemas.microsoft.com/office/drawing/2014/main" id="{667867DD-D3E6-3040-A7B5-39345C0CE2E3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123" name="矩形 13">
              <a:extLst>
                <a:ext uri="{FF2B5EF4-FFF2-40B4-BE49-F238E27FC236}">
                  <a16:creationId xmlns:a16="http://schemas.microsoft.com/office/drawing/2014/main" id="{9EE10597-3782-AB46-8453-89FA049C6C46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0/0/0</a:t>
              </a:r>
            </a:p>
          </p:txBody>
        </p:sp>
        <p:sp>
          <p:nvSpPr>
            <p:cNvPr id="124" name="矩形 13">
              <a:extLst>
                <a:ext uri="{FF2B5EF4-FFF2-40B4-BE49-F238E27FC236}">
                  <a16:creationId xmlns:a16="http://schemas.microsoft.com/office/drawing/2014/main" id="{966B3529-B594-884C-BED0-5887B34BBBB8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125" name="矩形 13">
              <a:extLst>
                <a:ext uri="{FF2B5EF4-FFF2-40B4-BE49-F238E27FC236}">
                  <a16:creationId xmlns:a16="http://schemas.microsoft.com/office/drawing/2014/main" id="{0B0545C9-147F-584F-80D2-EF13876D7D33}"/>
                </a:ext>
              </a:extLst>
            </p:cNvPr>
            <p:cNvSpPr/>
            <p:nvPr userDrawn="1"/>
          </p:nvSpPr>
          <p:spPr>
            <a:xfrm>
              <a:off x="6445335" y="6324024"/>
              <a:ext cx="513579" cy="664398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126" name="矩形 13">
              <a:extLst>
                <a:ext uri="{FF2B5EF4-FFF2-40B4-BE49-F238E27FC236}">
                  <a16:creationId xmlns:a16="http://schemas.microsoft.com/office/drawing/2014/main" id="{44FD0A0B-0D45-3340-A523-465AC24134BF}"/>
                </a:ext>
              </a:extLst>
            </p:cNvPr>
            <p:cNvSpPr/>
            <p:nvPr userDrawn="1"/>
          </p:nvSpPr>
          <p:spPr>
            <a:xfrm>
              <a:off x="7003279" y="6324024"/>
              <a:ext cx="513579" cy="664398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127" name="矩形 13">
              <a:extLst>
                <a:ext uri="{FF2B5EF4-FFF2-40B4-BE49-F238E27FC236}">
                  <a16:creationId xmlns:a16="http://schemas.microsoft.com/office/drawing/2014/main" id="{2C404A07-276B-3648-BB25-4EDB5905448C}"/>
                </a:ext>
              </a:extLst>
            </p:cNvPr>
            <p:cNvSpPr/>
            <p:nvPr userDrawn="1"/>
          </p:nvSpPr>
          <p:spPr>
            <a:xfrm>
              <a:off x="7551547" y="6324024"/>
              <a:ext cx="513579" cy="664398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128" name="矩形 13">
              <a:extLst>
                <a:ext uri="{FF2B5EF4-FFF2-40B4-BE49-F238E27FC236}">
                  <a16:creationId xmlns:a16="http://schemas.microsoft.com/office/drawing/2014/main" id="{72B0F29C-A346-8946-9B8E-8F1B9DFF7AD0}"/>
                </a:ext>
              </a:extLst>
            </p:cNvPr>
            <p:cNvSpPr/>
            <p:nvPr userDrawn="1"/>
          </p:nvSpPr>
          <p:spPr>
            <a:xfrm>
              <a:off x="8098559" y="6324024"/>
              <a:ext cx="513579" cy="66439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</a:t>
              </a:r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14348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35039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Proprietary - Restricted Distribution</a:t>
            </a:r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7333705-F8D6-2847-B3CB-F2FAB51E2A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0" y="2625389"/>
            <a:ext cx="1967973" cy="4233515"/>
            <a:chOff x="5343885" y="-48857"/>
            <a:chExt cx="3271316" cy="7037279"/>
          </a:xfrm>
        </p:grpSpPr>
        <p:sp>
          <p:nvSpPr>
            <p:cNvPr id="89" name="矩形 13">
              <a:extLst>
                <a:ext uri="{FF2B5EF4-FFF2-40B4-BE49-F238E27FC236}">
                  <a16:creationId xmlns:a16="http://schemas.microsoft.com/office/drawing/2014/main" id="{B14DFA89-D483-CF47-82CC-DD86D7CAB09E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90" name="文本框 15">
              <a:extLst>
                <a:ext uri="{FF2B5EF4-FFF2-40B4-BE49-F238E27FC236}">
                  <a16:creationId xmlns:a16="http://schemas.microsoft.com/office/drawing/2014/main" id="{8223ADA0-340A-794B-93B7-24AFF612A719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91" name="矩形 13">
              <a:extLst>
                <a:ext uri="{FF2B5EF4-FFF2-40B4-BE49-F238E27FC236}">
                  <a16:creationId xmlns:a16="http://schemas.microsoft.com/office/drawing/2014/main" id="{5F63E0E3-4F22-7948-AB1A-40A84ECA92EC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2" name="矩形 13">
              <a:extLst>
                <a:ext uri="{FF2B5EF4-FFF2-40B4-BE49-F238E27FC236}">
                  <a16:creationId xmlns:a16="http://schemas.microsoft.com/office/drawing/2014/main" id="{29C4A3C6-7C7B-7140-8F73-591E9F49143F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93" name="矩形 13">
              <a:extLst>
                <a:ext uri="{FF2B5EF4-FFF2-40B4-BE49-F238E27FC236}">
                  <a16:creationId xmlns:a16="http://schemas.microsoft.com/office/drawing/2014/main" id="{BE4C9A8D-46B0-5B40-BC47-DB6C4899227F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94" name="矩形 13">
              <a:extLst>
                <a:ext uri="{FF2B5EF4-FFF2-40B4-BE49-F238E27FC236}">
                  <a16:creationId xmlns:a16="http://schemas.microsoft.com/office/drawing/2014/main" id="{612F2ED4-F7A4-9E48-95E1-8D07B3BBE962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95" name="矩形 13">
              <a:extLst>
                <a:ext uri="{FF2B5EF4-FFF2-40B4-BE49-F238E27FC236}">
                  <a16:creationId xmlns:a16="http://schemas.microsoft.com/office/drawing/2014/main" id="{A9E1D476-C288-8945-A68A-1F20C557294B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6" name="矩形 13">
              <a:extLst>
                <a:ext uri="{FF2B5EF4-FFF2-40B4-BE49-F238E27FC236}">
                  <a16:creationId xmlns:a16="http://schemas.microsoft.com/office/drawing/2014/main" id="{42823EBB-E62E-F149-AC9A-09950051F283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5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97" name="文本框 15">
              <a:extLst>
                <a:ext uri="{FF2B5EF4-FFF2-40B4-BE49-F238E27FC236}">
                  <a16:creationId xmlns:a16="http://schemas.microsoft.com/office/drawing/2014/main" id="{EA01C299-6FF2-3642-AAEC-A1DF62D9C654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98" name="矩形 13">
              <a:extLst>
                <a:ext uri="{FF2B5EF4-FFF2-40B4-BE49-F238E27FC236}">
                  <a16:creationId xmlns:a16="http://schemas.microsoft.com/office/drawing/2014/main" id="{B84AB502-165F-764A-9621-65CA8CBBEAEA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6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99" name="矩形 13">
              <a:extLst>
                <a:ext uri="{FF2B5EF4-FFF2-40B4-BE49-F238E27FC236}">
                  <a16:creationId xmlns:a16="http://schemas.microsoft.com/office/drawing/2014/main" id="{CB8870E8-3E95-764C-B621-A168E194CC7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00" name="矩形 13">
              <a:extLst>
                <a:ext uri="{FF2B5EF4-FFF2-40B4-BE49-F238E27FC236}">
                  <a16:creationId xmlns:a16="http://schemas.microsoft.com/office/drawing/2014/main" id="{356EF69A-1936-544F-A95F-0664F4E186D5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01" name="矩形 13">
              <a:extLst>
                <a:ext uri="{FF2B5EF4-FFF2-40B4-BE49-F238E27FC236}">
                  <a16:creationId xmlns:a16="http://schemas.microsoft.com/office/drawing/2014/main" id="{03EBAB43-95A5-1C4A-8458-B86EB3D51FCA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02" name="矩形 13">
              <a:extLst>
                <a:ext uri="{FF2B5EF4-FFF2-40B4-BE49-F238E27FC236}">
                  <a16:creationId xmlns:a16="http://schemas.microsoft.com/office/drawing/2014/main" id="{371A8520-F934-304C-B57F-B49F768694E2}"/>
                </a:ext>
              </a:extLst>
            </p:cNvPr>
            <p:cNvSpPr/>
            <p:nvPr userDrawn="1"/>
          </p:nvSpPr>
          <p:spPr>
            <a:xfrm>
              <a:off x="6184543" y="4866463"/>
              <a:ext cx="791510" cy="664398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103" name="矩形 13">
              <a:extLst>
                <a:ext uri="{FF2B5EF4-FFF2-40B4-BE49-F238E27FC236}">
                  <a16:creationId xmlns:a16="http://schemas.microsoft.com/office/drawing/2014/main" id="{B83004D7-279B-C14E-9FCF-870FA1B74FDF}"/>
                </a:ext>
              </a:extLst>
            </p:cNvPr>
            <p:cNvSpPr/>
            <p:nvPr userDrawn="1"/>
          </p:nvSpPr>
          <p:spPr>
            <a:xfrm>
              <a:off x="6182308" y="4134866"/>
              <a:ext cx="791510" cy="664398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104" name="矩形 13">
              <a:extLst>
                <a:ext uri="{FF2B5EF4-FFF2-40B4-BE49-F238E27FC236}">
                  <a16:creationId xmlns:a16="http://schemas.microsoft.com/office/drawing/2014/main" id="{99635968-4E69-CC41-9D78-6DF253FE3035}"/>
                </a:ext>
              </a:extLst>
            </p:cNvPr>
            <p:cNvSpPr/>
            <p:nvPr userDrawn="1"/>
          </p:nvSpPr>
          <p:spPr>
            <a:xfrm>
              <a:off x="6177324" y="5596166"/>
              <a:ext cx="791510" cy="664398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105" name="矩形 13">
              <a:extLst>
                <a:ext uri="{FF2B5EF4-FFF2-40B4-BE49-F238E27FC236}">
                  <a16:creationId xmlns:a16="http://schemas.microsoft.com/office/drawing/2014/main" id="{BDBE4949-07B7-F046-AD95-68E4B0C11CCD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106" name="矩形 13">
              <a:extLst>
                <a:ext uri="{FF2B5EF4-FFF2-40B4-BE49-F238E27FC236}">
                  <a16:creationId xmlns:a16="http://schemas.microsoft.com/office/drawing/2014/main" id="{AA9F9E00-6A31-F14B-A2E4-79908835FD1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107" name="矩形 13">
              <a:extLst>
                <a:ext uri="{FF2B5EF4-FFF2-40B4-BE49-F238E27FC236}">
                  <a16:creationId xmlns:a16="http://schemas.microsoft.com/office/drawing/2014/main" id="{38715A31-485E-B744-B409-43F9F04B48F7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108" name="矩形 13">
              <a:extLst>
                <a:ext uri="{FF2B5EF4-FFF2-40B4-BE49-F238E27FC236}">
                  <a16:creationId xmlns:a16="http://schemas.microsoft.com/office/drawing/2014/main" id="{4AE1609B-25DD-2C4A-B05B-D18ADBC39C71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109" name="矩形 13">
              <a:extLst>
                <a:ext uri="{FF2B5EF4-FFF2-40B4-BE49-F238E27FC236}">
                  <a16:creationId xmlns:a16="http://schemas.microsoft.com/office/drawing/2014/main" id="{ECE90F9F-DBBC-0B49-A42C-8B62397E473E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0" name="矩形 13">
              <a:extLst>
                <a:ext uri="{FF2B5EF4-FFF2-40B4-BE49-F238E27FC236}">
                  <a16:creationId xmlns:a16="http://schemas.microsoft.com/office/drawing/2014/main" id="{D5B387BA-F8B8-B54E-966E-F24E271747C4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111" name="矩形 13">
              <a:extLst>
                <a:ext uri="{FF2B5EF4-FFF2-40B4-BE49-F238E27FC236}">
                  <a16:creationId xmlns:a16="http://schemas.microsoft.com/office/drawing/2014/main" id="{E6C9B99E-8C1C-2B49-B82E-3C754B8E5C02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112" name="矩形 13">
              <a:extLst>
                <a:ext uri="{FF2B5EF4-FFF2-40B4-BE49-F238E27FC236}">
                  <a16:creationId xmlns:a16="http://schemas.microsoft.com/office/drawing/2014/main" id="{0106BFA2-9DE1-3A42-A6C6-69BCE0FA34F4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113" name="矩形 13">
              <a:extLst>
                <a:ext uri="{FF2B5EF4-FFF2-40B4-BE49-F238E27FC236}">
                  <a16:creationId xmlns:a16="http://schemas.microsoft.com/office/drawing/2014/main" id="{F760C1C5-4342-C346-A7D2-D101978EDF66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114" name="矩形 13">
              <a:extLst>
                <a:ext uri="{FF2B5EF4-FFF2-40B4-BE49-F238E27FC236}">
                  <a16:creationId xmlns:a16="http://schemas.microsoft.com/office/drawing/2014/main" id="{5BB50A4A-0B64-7E4C-824C-1EBCA1A992CF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115" name="矩形 13">
              <a:extLst>
                <a:ext uri="{FF2B5EF4-FFF2-40B4-BE49-F238E27FC236}">
                  <a16:creationId xmlns:a16="http://schemas.microsoft.com/office/drawing/2014/main" id="{756A7E25-6C44-8A44-A8C5-61D19BC9EDAF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116" name="矩形 13">
              <a:extLst>
                <a:ext uri="{FF2B5EF4-FFF2-40B4-BE49-F238E27FC236}">
                  <a16:creationId xmlns:a16="http://schemas.microsoft.com/office/drawing/2014/main" id="{96588389-39CD-DF4E-B9AC-92091E25724E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117" name="矩形 13">
              <a:extLst>
                <a:ext uri="{FF2B5EF4-FFF2-40B4-BE49-F238E27FC236}">
                  <a16:creationId xmlns:a16="http://schemas.microsoft.com/office/drawing/2014/main" id="{20725C9F-31AE-DB44-B70A-B4ECDEC0BC00}"/>
                </a:ext>
              </a:extLst>
            </p:cNvPr>
            <p:cNvSpPr/>
            <p:nvPr/>
          </p:nvSpPr>
          <p:spPr>
            <a:xfrm>
              <a:off x="7811114" y="3415851"/>
              <a:ext cx="791510" cy="664398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8" name="矩形 13">
              <a:extLst>
                <a:ext uri="{FF2B5EF4-FFF2-40B4-BE49-F238E27FC236}">
                  <a16:creationId xmlns:a16="http://schemas.microsoft.com/office/drawing/2014/main" id="{AC5BCC27-B68D-0743-8E0B-E25F8D01C3A4}"/>
                </a:ext>
              </a:extLst>
            </p:cNvPr>
            <p:cNvSpPr/>
            <p:nvPr/>
          </p:nvSpPr>
          <p:spPr>
            <a:xfrm>
              <a:off x="7820945" y="4866463"/>
              <a:ext cx="791510" cy="664398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119" name="矩形 13">
              <a:extLst>
                <a:ext uri="{FF2B5EF4-FFF2-40B4-BE49-F238E27FC236}">
                  <a16:creationId xmlns:a16="http://schemas.microsoft.com/office/drawing/2014/main" id="{51C2E83A-C975-6945-B2FD-5B22BBB53DB7}"/>
                </a:ext>
              </a:extLst>
            </p:cNvPr>
            <p:cNvSpPr/>
            <p:nvPr/>
          </p:nvSpPr>
          <p:spPr>
            <a:xfrm>
              <a:off x="7818707" y="4134866"/>
              <a:ext cx="791510" cy="664398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120" name="矩形 13">
              <a:extLst>
                <a:ext uri="{FF2B5EF4-FFF2-40B4-BE49-F238E27FC236}">
                  <a16:creationId xmlns:a16="http://schemas.microsoft.com/office/drawing/2014/main" id="{BEE9A95F-6965-354F-A2C7-2E8C81DDA52F}"/>
                </a:ext>
              </a:extLst>
            </p:cNvPr>
            <p:cNvSpPr/>
            <p:nvPr/>
          </p:nvSpPr>
          <p:spPr>
            <a:xfrm>
              <a:off x="7823691" y="5596166"/>
              <a:ext cx="791510" cy="664398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190/233/238</a:t>
              </a:r>
            </a:p>
          </p:txBody>
        </p:sp>
        <p:sp>
          <p:nvSpPr>
            <p:cNvPr id="121" name="矩形 13">
              <a:extLst>
                <a:ext uri="{FF2B5EF4-FFF2-40B4-BE49-F238E27FC236}">
                  <a16:creationId xmlns:a16="http://schemas.microsoft.com/office/drawing/2014/main" id="{509164EB-3DC4-7A4F-9E7C-06EBC981CD0A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122" name="矩形 13">
              <a:extLst>
                <a:ext uri="{FF2B5EF4-FFF2-40B4-BE49-F238E27FC236}">
                  <a16:creationId xmlns:a16="http://schemas.microsoft.com/office/drawing/2014/main" id="{667867DD-D3E6-3040-A7B5-39345C0CE2E3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123" name="矩形 13">
              <a:extLst>
                <a:ext uri="{FF2B5EF4-FFF2-40B4-BE49-F238E27FC236}">
                  <a16:creationId xmlns:a16="http://schemas.microsoft.com/office/drawing/2014/main" id="{9EE10597-3782-AB46-8453-89FA049C6C46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0/0/0</a:t>
              </a:r>
            </a:p>
          </p:txBody>
        </p:sp>
        <p:sp>
          <p:nvSpPr>
            <p:cNvPr id="124" name="矩形 13">
              <a:extLst>
                <a:ext uri="{FF2B5EF4-FFF2-40B4-BE49-F238E27FC236}">
                  <a16:creationId xmlns:a16="http://schemas.microsoft.com/office/drawing/2014/main" id="{966B3529-B594-884C-BED0-5887B34BBBB8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125" name="矩形 13">
              <a:extLst>
                <a:ext uri="{FF2B5EF4-FFF2-40B4-BE49-F238E27FC236}">
                  <a16:creationId xmlns:a16="http://schemas.microsoft.com/office/drawing/2014/main" id="{0B0545C9-147F-584F-80D2-EF13876D7D33}"/>
                </a:ext>
              </a:extLst>
            </p:cNvPr>
            <p:cNvSpPr/>
            <p:nvPr userDrawn="1"/>
          </p:nvSpPr>
          <p:spPr>
            <a:xfrm>
              <a:off x="6445335" y="6324024"/>
              <a:ext cx="513579" cy="664398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126" name="矩形 13">
              <a:extLst>
                <a:ext uri="{FF2B5EF4-FFF2-40B4-BE49-F238E27FC236}">
                  <a16:creationId xmlns:a16="http://schemas.microsoft.com/office/drawing/2014/main" id="{44FD0A0B-0D45-3340-A523-465AC24134BF}"/>
                </a:ext>
              </a:extLst>
            </p:cNvPr>
            <p:cNvSpPr/>
            <p:nvPr userDrawn="1"/>
          </p:nvSpPr>
          <p:spPr>
            <a:xfrm>
              <a:off x="7003279" y="6324024"/>
              <a:ext cx="513579" cy="664398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127" name="矩形 13">
              <a:extLst>
                <a:ext uri="{FF2B5EF4-FFF2-40B4-BE49-F238E27FC236}">
                  <a16:creationId xmlns:a16="http://schemas.microsoft.com/office/drawing/2014/main" id="{2C404A07-276B-3648-BB25-4EDB5905448C}"/>
                </a:ext>
              </a:extLst>
            </p:cNvPr>
            <p:cNvSpPr/>
            <p:nvPr userDrawn="1"/>
          </p:nvSpPr>
          <p:spPr>
            <a:xfrm>
              <a:off x="7551547" y="6324024"/>
              <a:ext cx="513579" cy="664398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128" name="矩形 13">
              <a:extLst>
                <a:ext uri="{FF2B5EF4-FFF2-40B4-BE49-F238E27FC236}">
                  <a16:creationId xmlns:a16="http://schemas.microsoft.com/office/drawing/2014/main" id="{72B0F29C-A346-8946-9B8E-8F1B9DFF7AD0}"/>
                </a:ext>
              </a:extLst>
            </p:cNvPr>
            <p:cNvSpPr/>
            <p:nvPr userDrawn="1"/>
          </p:nvSpPr>
          <p:spPr>
            <a:xfrm>
              <a:off x="8098559" y="6324024"/>
              <a:ext cx="513579" cy="66439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</a:t>
              </a:r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521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94" r:id="rId1"/>
    <p:sldLayoutId id="2147485195" r:id="rId2"/>
    <p:sldLayoutId id="2147485196" r:id="rId3"/>
    <p:sldLayoutId id="2147485197" r:id="rId4"/>
    <p:sldLayoutId id="2147485199" r:id="rId5"/>
    <p:sldLayoutId id="2147485201" r:id="rId6"/>
    <p:sldLayoutId id="2147485202" r:id="rId7"/>
    <p:sldLayoutId id="2147485204" r:id="rId8"/>
    <p:sldLayoutId id="2147485205" r:id="rId9"/>
    <p:sldLayoutId id="2147485206" r:id="rId10"/>
    <p:sldLayoutId id="2147485207" r:id="rId11"/>
    <p:sldLayoutId id="2147485208" r:id="rId12"/>
  </p:sldLayoutIdLst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28543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12"/>
            <a:r>
              <a:rPr lang="en-US" sz="900" dirty="0">
                <a:solidFill>
                  <a:srgbClr val="1D1D1B"/>
                </a:solidFill>
                <a:cs typeface="Arial" panose="020B0604020202020204" pitchFamily="34" charset="0"/>
              </a:rPr>
              <a:t>Huawei Proprietary – Restricted Distribu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2" y="6402808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493">
              <a:defRPr/>
            </a:pPr>
            <a:fld id="{C3837181-38C6-AD4F-B8BA-B444770388BB}" type="slidenum">
              <a:rPr lang="en-US" sz="900">
                <a:solidFill>
                  <a:srgbClr val="1D1D1B"/>
                </a:solidFill>
                <a:cs typeface="Arial" panose="020B0604020202020204" pitchFamily="34" charset="0"/>
              </a:rPr>
              <a:pPr defTabSz="890493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cs typeface="Arial" panose="020B0604020202020204" pitchFamily="34" charset="0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  <p:grpSp>
        <p:nvGrpSpPr>
          <p:cNvPr id="5" name="Group 87">
            <a:extLst>
              <a:ext uri="{FF2B5EF4-FFF2-40B4-BE49-F238E27FC236}">
                <a16:creationId xmlns:a16="http://schemas.microsoft.com/office/drawing/2014/main" id="{CBB91E99-E194-4FBA-98E8-C8C541AFAD7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0" y="2625391"/>
            <a:ext cx="1967973" cy="4233515"/>
            <a:chOff x="5343885" y="-48857"/>
            <a:chExt cx="3271316" cy="7037279"/>
          </a:xfrm>
        </p:grpSpPr>
        <p:sp>
          <p:nvSpPr>
            <p:cNvPr id="6" name="矩形 13">
              <a:extLst>
                <a:ext uri="{FF2B5EF4-FFF2-40B4-BE49-F238E27FC236}">
                  <a16:creationId xmlns:a16="http://schemas.microsoft.com/office/drawing/2014/main" id="{87062D29-4B3D-43C6-B2F4-87266745F218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7" name="文本框 15">
              <a:extLst>
                <a:ext uri="{FF2B5EF4-FFF2-40B4-BE49-F238E27FC236}">
                  <a16:creationId xmlns:a16="http://schemas.microsoft.com/office/drawing/2014/main" id="{CF04794B-0451-4AF0-8B15-8E5F7B62486B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112"/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8" name="矩形 13">
              <a:extLst>
                <a:ext uri="{FF2B5EF4-FFF2-40B4-BE49-F238E27FC236}">
                  <a16:creationId xmlns:a16="http://schemas.microsoft.com/office/drawing/2014/main" id="{0DBE7A85-19E5-4416-A13E-6FDDFBF0D93F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" name="矩形 13">
              <a:extLst>
                <a:ext uri="{FF2B5EF4-FFF2-40B4-BE49-F238E27FC236}">
                  <a16:creationId xmlns:a16="http://schemas.microsoft.com/office/drawing/2014/main" id="{D0D35BE3-9F1D-49FC-BF5E-47C6902D7165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10" name="矩形 13">
              <a:extLst>
                <a:ext uri="{FF2B5EF4-FFF2-40B4-BE49-F238E27FC236}">
                  <a16:creationId xmlns:a16="http://schemas.microsoft.com/office/drawing/2014/main" id="{A556DFAA-1C6B-4B48-AC0A-CF59626865DB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11" name="矩形 13">
              <a:extLst>
                <a:ext uri="{FF2B5EF4-FFF2-40B4-BE49-F238E27FC236}">
                  <a16:creationId xmlns:a16="http://schemas.microsoft.com/office/drawing/2014/main" id="{425D8B17-2E6F-4DA0-98F8-4FA5B19A7F99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12" name="矩形 13">
              <a:extLst>
                <a:ext uri="{FF2B5EF4-FFF2-40B4-BE49-F238E27FC236}">
                  <a16:creationId xmlns:a16="http://schemas.microsoft.com/office/drawing/2014/main" id="{18E165AF-76C3-4826-9D25-C14CD69C9C28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13" name="矩形 13">
              <a:extLst>
                <a:ext uri="{FF2B5EF4-FFF2-40B4-BE49-F238E27FC236}">
                  <a16:creationId xmlns:a16="http://schemas.microsoft.com/office/drawing/2014/main" id="{7402DD78-561C-4E4A-9131-56F32E913BA0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5C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14" name="文本框 15">
              <a:extLst>
                <a:ext uri="{FF2B5EF4-FFF2-40B4-BE49-F238E27FC236}">
                  <a16:creationId xmlns:a16="http://schemas.microsoft.com/office/drawing/2014/main" id="{7BE7850B-DB89-4939-8B9F-08E87A592B05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112"/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15" name="矩形 13">
              <a:extLst>
                <a:ext uri="{FF2B5EF4-FFF2-40B4-BE49-F238E27FC236}">
                  <a16:creationId xmlns:a16="http://schemas.microsoft.com/office/drawing/2014/main" id="{4821ECEB-5DCD-4780-8BA6-E48654F5DB65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PANTONE 186C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16" name="矩形 13">
              <a:extLst>
                <a:ext uri="{FF2B5EF4-FFF2-40B4-BE49-F238E27FC236}">
                  <a16:creationId xmlns:a16="http://schemas.microsoft.com/office/drawing/2014/main" id="{648D93AC-ED6F-4DF5-A58B-A8DB369F7E3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7" name="矩形 13">
              <a:extLst>
                <a:ext uri="{FF2B5EF4-FFF2-40B4-BE49-F238E27FC236}">
                  <a16:creationId xmlns:a16="http://schemas.microsoft.com/office/drawing/2014/main" id="{E3E6EC3D-1867-4ECC-9F16-D29D3271CF3A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8" name="矩形 13">
              <a:extLst>
                <a:ext uri="{FF2B5EF4-FFF2-40B4-BE49-F238E27FC236}">
                  <a16:creationId xmlns:a16="http://schemas.microsoft.com/office/drawing/2014/main" id="{F5E34584-5D8D-4E4C-8F52-24B9319EC2F4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9" name="矩形 13">
              <a:extLst>
                <a:ext uri="{FF2B5EF4-FFF2-40B4-BE49-F238E27FC236}">
                  <a16:creationId xmlns:a16="http://schemas.microsoft.com/office/drawing/2014/main" id="{861F380C-7EE2-4915-A1B4-2DEC2F665DCD}"/>
                </a:ext>
              </a:extLst>
            </p:cNvPr>
            <p:cNvSpPr/>
            <p:nvPr userDrawn="1"/>
          </p:nvSpPr>
          <p:spPr>
            <a:xfrm>
              <a:off x="6184543" y="4866463"/>
              <a:ext cx="791510" cy="664398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20" name="矩形 13">
              <a:extLst>
                <a:ext uri="{FF2B5EF4-FFF2-40B4-BE49-F238E27FC236}">
                  <a16:creationId xmlns:a16="http://schemas.microsoft.com/office/drawing/2014/main" id="{FB920400-BC53-45C0-8624-91B8E82BC5D2}"/>
                </a:ext>
              </a:extLst>
            </p:cNvPr>
            <p:cNvSpPr/>
            <p:nvPr userDrawn="1"/>
          </p:nvSpPr>
          <p:spPr>
            <a:xfrm>
              <a:off x="6182308" y="4134866"/>
              <a:ext cx="791510" cy="664398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21" name="矩形 13">
              <a:extLst>
                <a:ext uri="{FF2B5EF4-FFF2-40B4-BE49-F238E27FC236}">
                  <a16:creationId xmlns:a16="http://schemas.microsoft.com/office/drawing/2014/main" id="{31078EDC-4A9F-43A4-9BA9-907569D85C92}"/>
                </a:ext>
              </a:extLst>
            </p:cNvPr>
            <p:cNvSpPr/>
            <p:nvPr userDrawn="1"/>
          </p:nvSpPr>
          <p:spPr>
            <a:xfrm>
              <a:off x="6177324" y="5596166"/>
              <a:ext cx="791510" cy="664398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22" name="矩形 13">
              <a:extLst>
                <a:ext uri="{FF2B5EF4-FFF2-40B4-BE49-F238E27FC236}">
                  <a16:creationId xmlns:a16="http://schemas.microsoft.com/office/drawing/2014/main" id="{BF5ECD26-9AAC-4B7D-B7B9-5D3E0A2E9DA4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23" name="矩形 13">
              <a:extLst>
                <a:ext uri="{FF2B5EF4-FFF2-40B4-BE49-F238E27FC236}">
                  <a16:creationId xmlns:a16="http://schemas.microsoft.com/office/drawing/2014/main" id="{9D857771-ACBB-41B6-8066-2ED34322E55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24" name="矩形 13">
              <a:extLst>
                <a:ext uri="{FF2B5EF4-FFF2-40B4-BE49-F238E27FC236}">
                  <a16:creationId xmlns:a16="http://schemas.microsoft.com/office/drawing/2014/main" id="{E5C2B2E4-7360-4919-AFF0-3278A14D20A3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25" name="矩形 13">
              <a:extLst>
                <a:ext uri="{FF2B5EF4-FFF2-40B4-BE49-F238E27FC236}">
                  <a16:creationId xmlns:a16="http://schemas.microsoft.com/office/drawing/2014/main" id="{205FF6C6-9AD5-4A14-97CD-DCA40CA434F5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26" name="矩形 13">
              <a:extLst>
                <a:ext uri="{FF2B5EF4-FFF2-40B4-BE49-F238E27FC236}">
                  <a16:creationId xmlns:a16="http://schemas.microsoft.com/office/drawing/2014/main" id="{569590BE-ACA3-4165-A3C8-EF0EC6DE1F37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27" name="矩形 13">
              <a:extLst>
                <a:ext uri="{FF2B5EF4-FFF2-40B4-BE49-F238E27FC236}">
                  <a16:creationId xmlns:a16="http://schemas.microsoft.com/office/drawing/2014/main" id="{A948AC6C-3900-47EE-9D2B-DAAC34E5977E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28" name="矩形 13">
              <a:extLst>
                <a:ext uri="{FF2B5EF4-FFF2-40B4-BE49-F238E27FC236}">
                  <a16:creationId xmlns:a16="http://schemas.microsoft.com/office/drawing/2014/main" id="{00E044ED-DB0C-4B5B-AA77-2ED06094E771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29" name="矩形 13">
              <a:extLst>
                <a:ext uri="{FF2B5EF4-FFF2-40B4-BE49-F238E27FC236}">
                  <a16:creationId xmlns:a16="http://schemas.microsoft.com/office/drawing/2014/main" id="{AF4BCC50-7A8D-4CF9-9D32-45E989EE069A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30" name="矩形 13">
              <a:extLst>
                <a:ext uri="{FF2B5EF4-FFF2-40B4-BE49-F238E27FC236}">
                  <a16:creationId xmlns:a16="http://schemas.microsoft.com/office/drawing/2014/main" id="{CE13758F-40BE-46B4-B658-12AE1F130F54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31" name="矩形 13">
              <a:extLst>
                <a:ext uri="{FF2B5EF4-FFF2-40B4-BE49-F238E27FC236}">
                  <a16:creationId xmlns:a16="http://schemas.microsoft.com/office/drawing/2014/main" id="{0F7F976C-16D5-4D99-9DA3-F8F819C590B4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32" name="矩形 13">
              <a:extLst>
                <a:ext uri="{FF2B5EF4-FFF2-40B4-BE49-F238E27FC236}">
                  <a16:creationId xmlns:a16="http://schemas.microsoft.com/office/drawing/2014/main" id="{4EC6DA09-C57C-4765-A960-35241AA4D022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33" name="矩形 13">
              <a:extLst>
                <a:ext uri="{FF2B5EF4-FFF2-40B4-BE49-F238E27FC236}">
                  <a16:creationId xmlns:a16="http://schemas.microsoft.com/office/drawing/2014/main" id="{3736C081-FFDA-43EE-911D-ED4CF1851E34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34" name="矩形 13">
              <a:extLst>
                <a:ext uri="{FF2B5EF4-FFF2-40B4-BE49-F238E27FC236}">
                  <a16:creationId xmlns:a16="http://schemas.microsoft.com/office/drawing/2014/main" id="{D7DD5600-BA67-4684-B31D-5D51E301D21F}"/>
                </a:ext>
              </a:extLst>
            </p:cNvPr>
            <p:cNvSpPr/>
            <p:nvPr/>
          </p:nvSpPr>
          <p:spPr>
            <a:xfrm>
              <a:off x="7811114" y="3415851"/>
              <a:ext cx="791510" cy="664398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ea typeface="Arial" charset="0"/>
                <a:cs typeface="Arial" charset="0"/>
              </a:endParaRPr>
            </a:p>
          </p:txBody>
        </p:sp>
        <p:sp>
          <p:nvSpPr>
            <p:cNvPr id="35" name="矩形 13">
              <a:extLst>
                <a:ext uri="{FF2B5EF4-FFF2-40B4-BE49-F238E27FC236}">
                  <a16:creationId xmlns:a16="http://schemas.microsoft.com/office/drawing/2014/main" id="{BC3B5A4E-6C32-4D05-AF55-90FF1B2229EE}"/>
                </a:ext>
              </a:extLst>
            </p:cNvPr>
            <p:cNvSpPr/>
            <p:nvPr/>
          </p:nvSpPr>
          <p:spPr>
            <a:xfrm>
              <a:off x="7820945" y="4866463"/>
              <a:ext cx="791510" cy="664398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36" name="矩形 13">
              <a:extLst>
                <a:ext uri="{FF2B5EF4-FFF2-40B4-BE49-F238E27FC236}">
                  <a16:creationId xmlns:a16="http://schemas.microsoft.com/office/drawing/2014/main" id="{F88EA78A-8884-4B54-B1DC-FEF751661CA0}"/>
                </a:ext>
              </a:extLst>
            </p:cNvPr>
            <p:cNvSpPr/>
            <p:nvPr/>
          </p:nvSpPr>
          <p:spPr>
            <a:xfrm>
              <a:off x="7818707" y="4134866"/>
              <a:ext cx="791510" cy="664398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37" name="矩形 13">
              <a:extLst>
                <a:ext uri="{FF2B5EF4-FFF2-40B4-BE49-F238E27FC236}">
                  <a16:creationId xmlns:a16="http://schemas.microsoft.com/office/drawing/2014/main" id="{30D76234-18BB-4226-91F3-496541FDB173}"/>
                </a:ext>
              </a:extLst>
            </p:cNvPr>
            <p:cNvSpPr/>
            <p:nvPr/>
          </p:nvSpPr>
          <p:spPr>
            <a:xfrm>
              <a:off x="7823691" y="5596166"/>
              <a:ext cx="791510" cy="664398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190/233/238</a:t>
              </a:r>
            </a:p>
          </p:txBody>
        </p:sp>
        <p:sp>
          <p:nvSpPr>
            <p:cNvPr id="38" name="矩形 13">
              <a:extLst>
                <a:ext uri="{FF2B5EF4-FFF2-40B4-BE49-F238E27FC236}">
                  <a16:creationId xmlns:a16="http://schemas.microsoft.com/office/drawing/2014/main" id="{742E2780-BD5E-413B-9BE8-96DFFF8B5649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39" name="矩形 13">
              <a:extLst>
                <a:ext uri="{FF2B5EF4-FFF2-40B4-BE49-F238E27FC236}">
                  <a16:creationId xmlns:a16="http://schemas.microsoft.com/office/drawing/2014/main" id="{89CF25F0-ACC6-4FC4-948A-BCE4A802FD25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40" name="矩形 13">
              <a:extLst>
                <a:ext uri="{FF2B5EF4-FFF2-40B4-BE49-F238E27FC236}">
                  <a16:creationId xmlns:a16="http://schemas.microsoft.com/office/drawing/2014/main" id="{8D2EF9D5-EBCD-490B-B8B9-645C824F91AD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0/0/0</a:t>
              </a:r>
            </a:p>
          </p:txBody>
        </p:sp>
        <p:sp>
          <p:nvSpPr>
            <p:cNvPr id="41" name="矩形 13">
              <a:extLst>
                <a:ext uri="{FF2B5EF4-FFF2-40B4-BE49-F238E27FC236}">
                  <a16:creationId xmlns:a16="http://schemas.microsoft.com/office/drawing/2014/main" id="{0286ECB3-922D-48DD-AFE7-9C6E9060C6F2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 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42" name="矩形 13">
              <a:extLst>
                <a:ext uri="{FF2B5EF4-FFF2-40B4-BE49-F238E27FC236}">
                  <a16:creationId xmlns:a16="http://schemas.microsoft.com/office/drawing/2014/main" id="{26843338-C6AE-4E98-95C9-EA160CC2B30A}"/>
                </a:ext>
              </a:extLst>
            </p:cNvPr>
            <p:cNvSpPr/>
            <p:nvPr userDrawn="1"/>
          </p:nvSpPr>
          <p:spPr>
            <a:xfrm>
              <a:off x="6445335" y="6324024"/>
              <a:ext cx="513579" cy="664398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43" name="矩形 13">
              <a:extLst>
                <a:ext uri="{FF2B5EF4-FFF2-40B4-BE49-F238E27FC236}">
                  <a16:creationId xmlns:a16="http://schemas.microsoft.com/office/drawing/2014/main" id="{F41285F2-C98F-44DF-810D-AFDA8C2F7252}"/>
                </a:ext>
              </a:extLst>
            </p:cNvPr>
            <p:cNvSpPr/>
            <p:nvPr userDrawn="1"/>
          </p:nvSpPr>
          <p:spPr>
            <a:xfrm>
              <a:off x="7003279" y="6324024"/>
              <a:ext cx="513579" cy="664398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44" name="矩形 13">
              <a:extLst>
                <a:ext uri="{FF2B5EF4-FFF2-40B4-BE49-F238E27FC236}">
                  <a16:creationId xmlns:a16="http://schemas.microsoft.com/office/drawing/2014/main" id="{316800BF-7174-4B63-B993-7FF3F38E786A}"/>
                </a:ext>
              </a:extLst>
            </p:cNvPr>
            <p:cNvSpPr/>
            <p:nvPr userDrawn="1"/>
          </p:nvSpPr>
          <p:spPr>
            <a:xfrm>
              <a:off x="7551547" y="6324024"/>
              <a:ext cx="513579" cy="664398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45" name="矩形 13">
              <a:extLst>
                <a:ext uri="{FF2B5EF4-FFF2-40B4-BE49-F238E27FC236}">
                  <a16:creationId xmlns:a16="http://schemas.microsoft.com/office/drawing/2014/main" id="{E3AFA688-A359-4262-BC4E-961D2F75A295}"/>
                </a:ext>
              </a:extLst>
            </p:cNvPr>
            <p:cNvSpPr/>
            <p:nvPr userDrawn="1"/>
          </p:nvSpPr>
          <p:spPr>
            <a:xfrm>
              <a:off x="8098559" y="6324024"/>
              <a:ext cx="513579" cy="66439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RGB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ea typeface="Arial" charset="0"/>
                  <a:cs typeface="Arial" charset="0"/>
                </a:rPr>
                <a:t>25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89915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49" r:id="rId1"/>
    <p:sldLayoutId id="2147485851" r:id="rId2"/>
    <p:sldLayoutId id="2147485852" r:id="rId3"/>
    <p:sldLayoutId id="2147485853" r:id="rId4"/>
    <p:sldLayoutId id="2147485854" r:id="rId5"/>
    <p:sldLayoutId id="2147485855" r:id="rId6"/>
    <p:sldLayoutId id="2147485856" r:id="rId7"/>
    <p:sldLayoutId id="2147485857" r:id="rId8"/>
    <p:sldLayoutId id="2147485858" r:id="rId9"/>
    <p:sldLayoutId id="2147485859" r:id="rId10"/>
    <p:sldLayoutId id="2147485860" r:id="rId11"/>
    <p:sldLayoutId id="2147485862" r:id="rId12"/>
    <p:sldLayoutId id="2147485863" r:id="rId13"/>
    <p:sldLayoutId id="2147485866" r:id="rId14"/>
    <p:sldLayoutId id="2147485867" r:id="rId15"/>
    <p:sldLayoutId id="2147485869" r:id="rId16"/>
    <p:sldLayoutId id="2147485871" r:id="rId17"/>
    <p:sldLayoutId id="2147485872" r:id="rId18"/>
    <p:sldLayoutId id="2147485877" r:id="rId19"/>
    <p:sldLayoutId id="2147485878" r:id="rId20"/>
    <p:sldLayoutId id="2147485879" r:id="rId21"/>
    <p:sldLayoutId id="2147485880" r:id="rId22"/>
    <p:sldLayoutId id="2147485882" r:id="rId23"/>
    <p:sldLayoutId id="2147485884" r:id="rId24"/>
    <p:sldLayoutId id="2147485891" r:id="rId25"/>
    <p:sldLayoutId id="2147485893" r:id="rId26"/>
    <p:sldLayoutId id="2147485895" r:id="rId27"/>
    <p:sldLayoutId id="2147485896" r:id="rId28"/>
    <p:sldLayoutId id="2147485910" r:id="rId29"/>
    <p:sldLayoutId id="2147485911" r:id="rId30"/>
  </p:sldLayoutIdLst>
  <p:hf hdr="0" ftr="0" dt="0"/>
  <p:txStyles>
    <p:titleStyle>
      <a:lvl1pPr algn="l" defTabSz="1187323" rtl="0" eaLnBrk="1" latinLnBrk="0" hangingPunct="1">
        <a:lnSpc>
          <a:spcPct val="90000"/>
        </a:lnSpc>
        <a:spcBef>
          <a:spcPct val="0"/>
        </a:spcBef>
        <a:buNone/>
        <a:defRPr sz="571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31" indent="-296831" algn="l" defTabSz="1187323" rtl="0" eaLnBrk="1" latinLnBrk="0" hangingPunct="1">
        <a:lnSpc>
          <a:spcPct val="90000"/>
        </a:lnSpc>
        <a:spcBef>
          <a:spcPts val="1298"/>
        </a:spcBef>
        <a:buFont typeface="Arial" panose="020B0604020202020204" pitchFamily="34" charset="0"/>
        <a:buChar char="•"/>
        <a:defRPr sz="3635" kern="1200">
          <a:solidFill>
            <a:schemeClr val="tx1"/>
          </a:solidFill>
          <a:latin typeface="+mn-lt"/>
          <a:ea typeface="+mn-ea"/>
          <a:cs typeface="+mn-cs"/>
        </a:defRPr>
      </a:lvl1pPr>
      <a:lvl2pPr marL="890493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7" kern="1200">
          <a:solidFill>
            <a:schemeClr val="tx1"/>
          </a:solidFill>
          <a:latin typeface="+mn-lt"/>
          <a:ea typeface="+mn-ea"/>
          <a:cs typeface="+mn-cs"/>
        </a:defRPr>
      </a:lvl2pPr>
      <a:lvl3pPr marL="1484154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7" kern="1200">
          <a:solidFill>
            <a:schemeClr val="tx1"/>
          </a:solidFill>
          <a:latin typeface="+mn-lt"/>
          <a:ea typeface="+mn-ea"/>
          <a:cs typeface="+mn-cs"/>
        </a:defRPr>
      </a:lvl3pPr>
      <a:lvl4pPr marL="2077817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4pPr>
      <a:lvl5pPr marL="2671478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5pPr>
      <a:lvl6pPr marL="3265140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6pPr>
      <a:lvl7pPr marL="3858802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7pPr>
      <a:lvl8pPr marL="4452463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8pPr>
      <a:lvl9pPr marL="5046125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1pPr>
      <a:lvl2pPr marL="593662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2pPr>
      <a:lvl3pPr marL="1187323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3pPr>
      <a:lvl4pPr marL="1780986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4pPr>
      <a:lvl5pPr marL="2374648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5pPr>
      <a:lvl6pPr marL="2968309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6pPr>
      <a:lvl7pPr marL="3561971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7pPr>
      <a:lvl8pPr marL="4155634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8pPr>
      <a:lvl9pPr marL="4749295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56">
          <p15:clr>
            <a:srgbClr val="F26B43"/>
          </p15:clr>
        </p15:guide>
        <p15:guide id="2" pos="7216">
          <p15:clr>
            <a:srgbClr val="F26B43"/>
          </p15:clr>
        </p15:guide>
        <p15:guide id="3" orient="horz" pos="560">
          <p15:clr>
            <a:srgbClr val="F26B43"/>
          </p15:clr>
        </p15:guide>
        <p15:guide id="4" orient="horz" pos="728">
          <p15:clr>
            <a:srgbClr val="F26B43"/>
          </p15:clr>
        </p15:guide>
        <p15:guide id="5" orient="horz" pos="3968">
          <p15:clr>
            <a:srgbClr val="F26B43"/>
          </p15:clr>
        </p15:guide>
        <p15:guide id="6" orient="horz" pos="380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35039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Proprietary - Restricted Distribution</a:t>
            </a:r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7333705-F8D6-2847-B3CB-F2FAB51E2A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0" y="2625389"/>
            <a:ext cx="1967973" cy="4233515"/>
            <a:chOff x="5343885" y="-48857"/>
            <a:chExt cx="3271316" cy="7037279"/>
          </a:xfrm>
        </p:grpSpPr>
        <p:sp>
          <p:nvSpPr>
            <p:cNvPr id="89" name="矩形 13">
              <a:extLst>
                <a:ext uri="{FF2B5EF4-FFF2-40B4-BE49-F238E27FC236}">
                  <a16:creationId xmlns:a16="http://schemas.microsoft.com/office/drawing/2014/main" id="{B14DFA89-D483-CF47-82CC-DD86D7CAB09E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90" name="文本框 15">
              <a:extLst>
                <a:ext uri="{FF2B5EF4-FFF2-40B4-BE49-F238E27FC236}">
                  <a16:creationId xmlns:a16="http://schemas.microsoft.com/office/drawing/2014/main" id="{8223ADA0-340A-794B-93B7-24AFF612A719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91" name="矩形 13">
              <a:extLst>
                <a:ext uri="{FF2B5EF4-FFF2-40B4-BE49-F238E27FC236}">
                  <a16:creationId xmlns:a16="http://schemas.microsoft.com/office/drawing/2014/main" id="{5F63E0E3-4F22-7948-AB1A-40A84ECA92EC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2" name="矩形 13">
              <a:extLst>
                <a:ext uri="{FF2B5EF4-FFF2-40B4-BE49-F238E27FC236}">
                  <a16:creationId xmlns:a16="http://schemas.microsoft.com/office/drawing/2014/main" id="{29C4A3C6-7C7B-7140-8F73-591E9F49143F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93" name="矩形 13">
              <a:extLst>
                <a:ext uri="{FF2B5EF4-FFF2-40B4-BE49-F238E27FC236}">
                  <a16:creationId xmlns:a16="http://schemas.microsoft.com/office/drawing/2014/main" id="{BE4C9A8D-46B0-5B40-BC47-DB6C4899227F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94" name="矩形 13">
              <a:extLst>
                <a:ext uri="{FF2B5EF4-FFF2-40B4-BE49-F238E27FC236}">
                  <a16:creationId xmlns:a16="http://schemas.microsoft.com/office/drawing/2014/main" id="{612F2ED4-F7A4-9E48-95E1-8D07B3BBE962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95" name="矩形 13">
              <a:extLst>
                <a:ext uri="{FF2B5EF4-FFF2-40B4-BE49-F238E27FC236}">
                  <a16:creationId xmlns:a16="http://schemas.microsoft.com/office/drawing/2014/main" id="{A9E1D476-C288-8945-A68A-1F20C557294B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6" name="矩形 13">
              <a:extLst>
                <a:ext uri="{FF2B5EF4-FFF2-40B4-BE49-F238E27FC236}">
                  <a16:creationId xmlns:a16="http://schemas.microsoft.com/office/drawing/2014/main" id="{42823EBB-E62E-F149-AC9A-09950051F283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5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97" name="文本框 15">
              <a:extLst>
                <a:ext uri="{FF2B5EF4-FFF2-40B4-BE49-F238E27FC236}">
                  <a16:creationId xmlns:a16="http://schemas.microsoft.com/office/drawing/2014/main" id="{EA01C299-6FF2-3642-AAEC-A1DF62D9C654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98" name="矩形 13">
              <a:extLst>
                <a:ext uri="{FF2B5EF4-FFF2-40B4-BE49-F238E27FC236}">
                  <a16:creationId xmlns:a16="http://schemas.microsoft.com/office/drawing/2014/main" id="{B84AB502-165F-764A-9621-65CA8CBBEAEA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6C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99" name="矩形 13">
              <a:extLst>
                <a:ext uri="{FF2B5EF4-FFF2-40B4-BE49-F238E27FC236}">
                  <a16:creationId xmlns:a16="http://schemas.microsoft.com/office/drawing/2014/main" id="{CB8870E8-3E95-764C-B621-A168E194CC7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00" name="矩形 13">
              <a:extLst>
                <a:ext uri="{FF2B5EF4-FFF2-40B4-BE49-F238E27FC236}">
                  <a16:creationId xmlns:a16="http://schemas.microsoft.com/office/drawing/2014/main" id="{356EF69A-1936-544F-A95F-0664F4E186D5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01" name="矩形 13">
              <a:extLst>
                <a:ext uri="{FF2B5EF4-FFF2-40B4-BE49-F238E27FC236}">
                  <a16:creationId xmlns:a16="http://schemas.microsoft.com/office/drawing/2014/main" id="{03EBAB43-95A5-1C4A-8458-B86EB3D51FCA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02" name="矩形 13">
              <a:extLst>
                <a:ext uri="{FF2B5EF4-FFF2-40B4-BE49-F238E27FC236}">
                  <a16:creationId xmlns:a16="http://schemas.microsoft.com/office/drawing/2014/main" id="{371A8520-F934-304C-B57F-B49F768694E2}"/>
                </a:ext>
              </a:extLst>
            </p:cNvPr>
            <p:cNvSpPr/>
            <p:nvPr userDrawn="1"/>
          </p:nvSpPr>
          <p:spPr>
            <a:xfrm>
              <a:off x="6184543" y="4866463"/>
              <a:ext cx="791510" cy="664398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103" name="矩形 13">
              <a:extLst>
                <a:ext uri="{FF2B5EF4-FFF2-40B4-BE49-F238E27FC236}">
                  <a16:creationId xmlns:a16="http://schemas.microsoft.com/office/drawing/2014/main" id="{B83004D7-279B-C14E-9FCF-870FA1B74FDF}"/>
                </a:ext>
              </a:extLst>
            </p:cNvPr>
            <p:cNvSpPr/>
            <p:nvPr userDrawn="1"/>
          </p:nvSpPr>
          <p:spPr>
            <a:xfrm>
              <a:off x="6182308" y="4134866"/>
              <a:ext cx="791510" cy="664398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104" name="矩形 13">
              <a:extLst>
                <a:ext uri="{FF2B5EF4-FFF2-40B4-BE49-F238E27FC236}">
                  <a16:creationId xmlns:a16="http://schemas.microsoft.com/office/drawing/2014/main" id="{99635968-4E69-CC41-9D78-6DF253FE3035}"/>
                </a:ext>
              </a:extLst>
            </p:cNvPr>
            <p:cNvSpPr/>
            <p:nvPr userDrawn="1"/>
          </p:nvSpPr>
          <p:spPr>
            <a:xfrm>
              <a:off x="6177324" y="5596166"/>
              <a:ext cx="791510" cy="664398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105" name="矩形 13">
              <a:extLst>
                <a:ext uri="{FF2B5EF4-FFF2-40B4-BE49-F238E27FC236}">
                  <a16:creationId xmlns:a16="http://schemas.microsoft.com/office/drawing/2014/main" id="{BDBE4949-07B7-F046-AD95-68E4B0C11CCD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106" name="矩形 13">
              <a:extLst>
                <a:ext uri="{FF2B5EF4-FFF2-40B4-BE49-F238E27FC236}">
                  <a16:creationId xmlns:a16="http://schemas.microsoft.com/office/drawing/2014/main" id="{AA9F9E00-6A31-F14B-A2E4-79908835FD1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107" name="矩形 13">
              <a:extLst>
                <a:ext uri="{FF2B5EF4-FFF2-40B4-BE49-F238E27FC236}">
                  <a16:creationId xmlns:a16="http://schemas.microsoft.com/office/drawing/2014/main" id="{38715A31-485E-B744-B409-43F9F04B48F7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108" name="矩形 13">
              <a:extLst>
                <a:ext uri="{FF2B5EF4-FFF2-40B4-BE49-F238E27FC236}">
                  <a16:creationId xmlns:a16="http://schemas.microsoft.com/office/drawing/2014/main" id="{4AE1609B-25DD-2C4A-B05B-D18ADBC39C71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109" name="矩形 13">
              <a:extLst>
                <a:ext uri="{FF2B5EF4-FFF2-40B4-BE49-F238E27FC236}">
                  <a16:creationId xmlns:a16="http://schemas.microsoft.com/office/drawing/2014/main" id="{ECE90F9F-DBBC-0B49-A42C-8B62397E473E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0" name="矩形 13">
              <a:extLst>
                <a:ext uri="{FF2B5EF4-FFF2-40B4-BE49-F238E27FC236}">
                  <a16:creationId xmlns:a16="http://schemas.microsoft.com/office/drawing/2014/main" id="{D5B387BA-F8B8-B54E-966E-F24E271747C4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111" name="矩形 13">
              <a:extLst>
                <a:ext uri="{FF2B5EF4-FFF2-40B4-BE49-F238E27FC236}">
                  <a16:creationId xmlns:a16="http://schemas.microsoft.com/office/drawing/2014/main" id="{E6C9B99E-8C1C-2B49-B82E-3C754B8E5C02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112" name="矩形 13">
              <a:extLst>
                <a:ext uri="{FF2B5EF4-FFF2-40B4-BE49-F238E27FC236}">
                  <a16:creationId xmlns:a16="http://schemas.microsoft.com/office/drawing/2014/main" id="{0106BFA2-9DE1-3A42-A6C6-69BCE0FA34F4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113" name="矩形 13">
              <a:extLst>
                <a:ext uri="{FF2B5EF4-FFF2-40B4-BE49-F238E27FC236}">
                  <a16:creationId xmlns:a16="http://schemas.microsoft.com/office/drawing/2014/main" id="{F760C1C5-4342-C346-A7D2-D101978EDF66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114" name="矩形 13">
              <a:extLst>
                <a:ext uri="{FF2B5EF4-FFF2-40B4-BE49-F238E27FC236}">
                  <a16:creationId xmlns:a16="http://schemas.microsoft.com/office/drawing/2014/main" id="{5BB50A4A-0B64-7E4C-824C-1EBCA1A992CF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115" name="矩形 13">
              <a:extLst>
                <a:ext uri="{FF2B5EF4-FFF2-40B4-BE49-F238E27FC236}">
                  <a16:creationId xmlns:a16="http://schemas.microsoft.com/office/drawing/2014/main" id="{756A7E25-6C44-8A44-A8C5-61D19BC9EDAF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116" name="矩形 13">
              <a:extLst>
                <a:ext uri="{FF2B5EF4-FFF2-40B4-BE49-F238E27FC236}">
                  <a16:creationId xmlns:a16="http://schemas.microsoft.com/office/drawing/2014/main" id="{96588389-39CD-DF4E-B9AC-92091E25724E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117" name="矩形 13">
              <a:extLst>
                <a:ext uri="{FF2B5EF4-FFF2-40B4-BE49-F238E27FC236}">
                  <a16:creationId xmlns:a16="http://schemas.microsoft.com/office/drawing/2014/main" id="{20725C9F-31AE-DB44-B70A-B4ECDEC0BC00}"/>
                </a:ext>
              </a:extLst>
            </p:cNvPr>
            <p:cNvSpPr/>
            <p:nvPr/>
          </p:nvSpPr>
          <p:spPr>
            <a:xfrm>
              <a:off x="7811114" y="3415851"/>
              <a:ext cx="791510" cy="664398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8" name="矩形 13">
              <a:extLst>
                <a:ext uri="{FF2B5EF4-FFF2-40B4-BE49-F238E27FC236}">
                  <a16:creationId xmlns:a16="http://schemas.microsoft.com/office/drawing/2014/main" id="{AC5BCC27-B68D-0743-8E0B-E25F8D01C3A4}"/>
                </a:ext>
              </a:extLst>
            </p:cNvPr>
            <p:cNvSpPr/>
            <p:nvPr/>
          </p:nvSpPr>
          <p:spPr>
            <a:xfrm>
              <a:off x="7820945" y="4866463"/>
              <a:ext cx="791510" cy="664398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119" name="矩形 13">
              <a:extLst>
                <a:ext uri="{FF2B5EF4-FFF2-40B4-BE49-F238E27FC236}">
                  <a16:creationId xmlns:a16="http://schemas.microsoft.com/office/drawing/2014/main" id="{51C2E83A-C975-6945-B2FD-5B22BBB53DB7}"/>
                </a:ext>
              </a:extLst>
            </p:cNvPr>
            <p:cNvSpPr/>
            <p:nvPr/>
          </p:nvSpPr>
          <p:spPr>
            <a:xfrm>
              <a:off x="7818707" y="4134866"/>
              <a:ext cx="791510" cy="664398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120" name="矩形 13">
              <a:extLst>
                <a:ext uri="{FF2B5EF4-FFF2-40B4-BE49-F238E27FC236}">
                  <a16:creationId xmlns:a16="http://schemas.microsoft.com/office/drawing/2014/main" id="{BEE9A95F-6965-354F-A2C7-2E8C81DDA52F}"/>
                </a:ext>
              </a:extLst>
            </p:cNvPr>
            <p:cNvSpPr/>
            <p:nvPr/>
          </p:nvSpPr>
          <p:spPr>
            <a:xfrm>
              <a:off x="7823691" y="5596166"/>
              <a:ext cx="791510" cy="664398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190/233/238</a:t>
              </a:r>
            </a:p>
          </p:txBody>
        </p:sp>
        <p:sp>
          <p:nvSpPr>
            <p:cNvPr id="121" name="矩形 13">
              <a:extLst>
                <a:ext uri="{FF2B5EF4-FFF2-40B4-BE49-F238E27FC236}">
                  <a16:creationId xmlns:a16="http://schemas.microsoft.com/office/drawing/2014/main" id="{509164EB-3DC4-7A4F-9E7C-06EBC981CD0A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122" name="矩形 13">
              <a:extLst>
                <a:ext uri="{FF2B5EF4-FFF2-40B4-BE49-F238E27FC236}">
                  <a16:creationId xmlns:a16="http://schemas.microsoft.com/office/drawing/2014/main" id="{667867DD-D3E6-3040-A7B5-39345C0CE2E3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123" name="矩形 13">
              <a:extLst>
                <a:ext uri="{FF2B5EF4-FFF2-40B4-BE49-F238E27FC236}">
                  <a16:creationId xmlns:a16="http://schemas.microsoft.com/office/drawing/2014/main" id="{9EE10597-3782-AB46-8453-89FA049C6C46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0/0/0</a:t>
              </a:r>
            </a:p>
          </p:txBody>
        </p:sp>
        <p:sp>
          <p:nvSpPr>
            <p:cNvPr id="124" name="矩形 13">
              <a:extLst>
                <a:ext uri="{FF2B5EF4-FFF2-40B4-BE49-F238E27FC236}">
                  <a16:creationId xmlns:a16="http://schemas.microsoft.com/office/drawing/2014/main" id="{966B3529-B594-884C-BED0-5887B34BBBB8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125" name="矩形 13">
              <a:extLst>
                <a:ext uri="{FF2B5EF4-FFF2-40B4-BE49-F238E27FC236}">
                  <a16:creationId xmlns:a16="http://schemas.microsoft.com/office/drawing/2014/main" id="{0B0545C9-147F-584F-80D2-EF13876D7D33}"/>
                </a:ext>
              </a:extLst>
            </p:cNvPr>
            <p:cNvSpPr/>
            <p:nvPr userDrawn="1"/>
          </p:nvSpPr>
          <p:spPr>
            <a:xfrm>
              <a:off x="6445335" y="6324024"/>
              <a:ext cx="513579" cy="664398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126" name="矩形 13">
              <a:extLst>
                <a:ext uri="{FF2B5EF4-FFF2-40B4-BE49-F238E27FC236}">
                  <a16:creationId xmlns:a16="http://schemas.microsoft.com/office/drawing/2014/main" id="{44FD0A0B-0D45-3340-A523-465AC24134BF}"/>
                </a:ext>
              </a:extLst>
            </p:cNvPr>
            <p:cNvSpPr/>
            <p:nvPr userDrawn="1"/>
          </p:nvSpPr>
          <p:spPr>
            <a:xfrm>
              <a:off x="7003279" y="6324024"/>
              <a:ext cx="513579" cy="664398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127" name="矩形 13">
              <a:extLst>
                <a:ext uri="{FF2B5EF4-FFF2-40B4-BE49-F238E27FC236}">
                  <a16:creationId xmlns:a16="http://schemas.microsoft.com/office/drawing/2014/main" id="{2C404A07-276B-3648-BB25-4EDB5905448C}"/>
                </a:ext>
              </a:extLst>
            </p:cNvPr>
            <p:cNvSpPr/>
            <p:nvPr userDrawn="1"/>
          </p:nvSpPr>
          <p:spPr>
            <a:xfrm>
              <a:off x="7551547" y="6324024"/>
              <a:ext cx="513579" cy="664398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128" name="矩形 13">
              <a:extLst>
                <a:ext uri="{FF2B5EF4-FFF2-40B4-BE49-F238E27FC236}">
                  <a16:creationId xmlns:a16="http://schemas.microsoft.com/office/drawing/2014/main" id="{72B0F29C-A346-8946-9B8E-8F1B9DFF7AD0}"/>
                </a:ext>
              </a:extLst>
            </p:cNvPr>
            <p:cNvSpPr/>
            <p:nvPr userDrawn="1"/>
          </p:nvSpPr>
          <p:spPr>
            <a:xfrm>
              <a:off x="8098559" y="6324024"/>
              <a:ext cx="513579" cy="66439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</a:t>
              </a:r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952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11" r:id="rId1"/>
    <p:sldLayoutId id="2147485212" r:id="rId2"/>
    <p:sldLayoutId id="2147485213" r:id="rId3"/>
    <p:sldLayoutId id="2147485215" r:id="rId4"/>
    <p:sldLayoutId id="2147485217" r:id="rId5"/>
    <p:sldLayoutId id="2147485218" r:id="rId6"/>
    <p:sldLayoutId id="2147485220" r:id="rId7"/>
    <p:sldLayoutId id="2147485221" r:id="rId8"/>
    <p:sldLayoutId id="2147485222" r:id="rId9"/>
    <p:sldLayoutId id="2147485223" r:id="rId10"/>
    <p:sldLayoutId id="2147485224" r:id="rId11"/>
  </p:sldLayoutIdLst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35039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zh-CN" sz="9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Proprietary - Restricted Distribution</a:t>
            </a:r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7333705-F8D6-2847-B3CB-F2FAB51E2A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0" y="2625389"/>
            <a:ext cx="1967973" cy="4233515"/>
            <a:chOff x="5343885" y="-48857"/>
            <a:chExt cx="3271316" cy="7037279"/>
          </a:xfrm>
        </p:grpSpPr>
        <p:sp>
          <p:nvSpPr>
            <p:cNvPr id="89" name="矩形 13">
              <a:extLst>
                <a:ext uri="{FF2B5EF4-FFF2-40B4-BE49-F238E27FC236}">
                  <a16:creationId xmlns:a16="http://schemas.microsoft.com/office/drawing/2014/main" id="{B14DFA89-D483-CF47-82CC-DD86D7CAB09E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90" name="文本框 15">
              <a:extLst>
                <a:ext uri="{FF2B5EF4-FFF2-40B4-BE49-F238E27FC236}">
                  <a16:creationId xmlns:a16="http://schemas.microsoft.com/office/drawing/2014/main" id="{8223ADA0-340A-794B-93B7-24AFF612A719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400"/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91" name="矩形 13">
              <a:extLst>
                <a:ext uri="{FF2B5EF4-FFF2-40B4-BE49-F238E27FC236}">
                  <a16:creationId xmlns:a16="http://schemas.microsoft.com/office/drawing/2014/main" id="{5F63E0E3-4F22-7948-AB1A-40A84ECA92EC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2" name="矩形 13">
              <a:extLst>
                <a:ext uri="{FF2B5EF4-FFF2-40B4-BE49-F238E27FC236}">
                  <a16:creationId xmlns:a16="http://schemas.microsoft.com/office/drawing/2014/main" id="{29C4A3C6-7C7B-7140-8F73-591E9F49143F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93" name="矩形 13">
              <a:extLst>
                <a:ext uri="{FF2B5EF4-FFF2-40B4-BE49-F238E27FC236}">
                  <a16:creationId xmlns:a16="http://schemas.microsoft.com/office/drawing/2014/main" id="{BE4C9A8D-46B0-5B40-BC47-DB6C4899227F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94" name="矩形 13">
              <a:extLst>
                <a:ext uri="{FF2B5EF4-FFF2-40B4-BE49-F238E27FC236}">
                  <a16:creationId xmlns:a16="http://schemas.microsoft.com/office/drawing/2014/main" id="{612F2ED4-F7A4-9E48-95E1-8D07B3BBE962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95" name="矩形 13">
              <a:extLst>
                <a:ext uri="{FF2B5EF4-FFF2-40B4-BE49-F238E27FC236}">
                  <a16:creationId xmlns:a16="http://schemas.microsoft.com/office/drawing/2014/main" id="{A9E1D476-C288-8945-A68A-1F20C557294B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6" name="矩形 13">
              <a:extLst>
                <a:ext uri="{FF2B5EF4-FFF2-40B4-BE49-F238E27FC236}">
                  <a16:creationId xmlns:a16="http://schemas.microsoft.com/office/drawing/2014/main" id="{42823EBB-E62E-F149-AC9A-09950051F283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5C</a:t>
              </a: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97" name="文本框 15">
              <a:extLst>
                <a:ext uri="{FF2B5EF4-FFF2-40B4-BE49-F238E27FC236}">
                  <a16:creationId xmlns:a16="http://schemas.microsoft.com/office/drawing/2014/main" id="{EA01C299-6FF2-3642-AAEC-A1DF62D9C654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400"/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98" name="矩形 13">
              <a:extLst>
                <a:ext uri="{FF2B5EF4-FFF2-40B4-BE49-F238E27FC236}">
                  <a16:creationId xmlns:a16="http://schemas.microsoft.com/office/drawing/2014/main" id="{B84AB502-165F-764A-9621-65CA8CBBEAEA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6C</a:t>
              </a: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99" name="矩形 13">
              <a:extLst>
                <a:ext uri="{FF2B5EF4-FFF2-40B4-BE49-F238E27FC236}">
                  <a16:creationId xmlns:a16="http://schemas.microsoft.com/office/drawing/2014/main" id="{CB8870E8-3E95-764C-B621-A168E194CC7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00" name="矩形 13">
              <a:extLst>
                <a:ext uri="{FF2B5EF4-FFF2-40B4-BE49-F238E27FC236}">
                  <a16:creationId xmlns:a16="http://schemas.microsoft.com/office/drawing/2014/main" id="{356EF69A-1936-544F-A95F-0664F4E186D5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01" name="矩形 13">
              <a:extLst>
                <a:ext uri="{FF2B5EF4-FFF2-40B4-BE49-F238E27FC236}">
                  <a16:creationId xmlns:a16="http://schemas.microsoft.com/office/drawing/2014/main" id="{03EBAB43-95A5-1C4A-8458-B86EB3D51FCA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02" name="矩形 13">
              <a:extLst>
                <a:ext uri="{FF2B5EF4-FFF2-40B4-BE49-F238E27FC236}">
                  <a16:creationId xmlns:a16="http://schemas.microsoft.com/office/drawing/2014/main" id="{371A8520-F934-304C-B57F-B49F768694E2}"/>
                </a:ext>
              </a:extLst>
            </p:cNvPr>
            <p:cNvSpPr/>
            <p:nvPr userDrawn="1"/>
          </p:nvSpPr>
          <p:spPr>
            <a:xfrm>
              <a:off x="6184543" y="4866463"/>
              <a:ext cx="791510" cy="664398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103" name="矩形 13">
              <a:extLst>
                <a:ext uri="{FF2B5EF4-FFF2-40B4-BE49-F238E27FC236}">
                  <a16:creationId xmlns:a16="http://schemas.microsoft.com/office/drawing/2014/main" id="{B83004D7-279B-C14E-9FCF-870FA1B74FDF}"/>
                </a:ext>
              </a:extLst>
            </p:cNvPr>
            <p:cNvSpPr/>
            <p:nvPr userDrawn="1"/>
          </p:nvSpPr>
          <p:spPr>
            <a:xfrm>
              <a:off x="6182308" y="4134866"/>
              <a:ext cx="791510" cy="664398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104" name="矩形 13">
              <a:extLst>
                <a:ext uri="{FF2B5EF4-FFF2-40B4-BE49-F238E27FC236}">
                  <a16:creationId xmlns:a16="http://schemas.microsoft.com/office/drawing/2014/main" id="{99635968-4E69-CC41-9D78-6DF253FE3035}"/>
                </a:ext>
              </a:extLst>
            </p:cNvPr>
            <p:cNvSpPr/>
            <p:nvPr userDrawn="1"/>
          </p:nvSpPr>
          <p:spPr>
            <a:xfrm>
              <a:off x="6177324" y="5596166"/>
              <a:ext cx="791510" cy="664398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105" name="矩形 13">
              <a:extLst>
                <a:ext uri="{FF2B5EF4-FFF2-40B4-BE49-F238E27FC236}">
                  <a16:creationId xmlns:a16="http://schemas.microsoft.com/office/drawing/2014/main" id="{BDBE4949-07B7-F046-AD95-68E4B0C11CCD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106" name="矩形 13">
              <a:extLst>
                <a:ext uri="{FF2B5EF4-FFF2-40B4-BE49-F238E27FC236}">
                  <a16:creationId xmlns:a16="http://schemas.microsoft.com/office/drawing/2014/main" id="{AA9F9E00-6A31-F14B-A2E4-79908835FD1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107" name="矩形 13">
              <a:extLst>
                <a:ext uri="{FF2B5EF4-FFF2-40B4-BE49-F238E27FC236}">
                  <a16:creationId xmlns:a16="http://schemas.microsoft.com/office/drawing/2014/main" id="{38715A31-485E-B744-B409-43F9F04B48F7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108" name="矩形 13">
              <a:extLst>
                <a:ext uri="{FF2B5EF4-FFF2-40B4-BE49-F238E27FC236}">
                  <a16:creationId xmlns:a16="http://schemas.microsoft.com/office/drawing/2014/main" id="{4AE1609B-25DD-2C4A-B05B-D18ADBC39C71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109" name="矩形 13">
              <a:extLst>
                <a:ext uri="{FF2B5EF4-FFF2-40B4-BE49-F238E27FC236}">
                  <a16:creationId xmlns:a16="http://schemas.microsoft.com/office/drawing/2014/main" id="{ECE90F9F-DBBC-0B49-A42C-8B62397E473E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0" name="矩形 13">
              <a:extLst>
                <a:ext uri="{FF2B5EF4-FFF2-40B4-BE49-F238E27FC236}">
                  <a16:creationId xmlns:a16="http://schemas.microsoft.com/office/drawing/2014/main" id="{D5B387BA-F8B8-B54E-966E-F24E271747C4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111" name="矩形 13">
              <a:extLst>
                <a:ext uri="{FF2B5EF4-FFF2-40B4-BE49-F238E27FC236}">
                  <a16:creationId xmlns:a16="http://schemas.microsoft.com/office/drawing/2014/main" id="{E6C9B99E-8C1C-2B49-B82E-3C754B8E5C02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112" name="矩形 13">
              <a:extLst>
                <a:ext uri="{FF2B5EF4-FFF2-40B4-BE49-F238E27FC236}">
                  <a16:creationId xmlns:a16="http://schemas.microsoft.com/office/drawing/2014/main" id="{0106BFA2-9DE1-3A42-A6C6-69BCE0FA34F4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113" name="矩形 13">
              <a:extLst>
                <a:ext uri="{FF2B5EF4-FFF2-40B4-BE49-F238E27FC236}">
                  <a16:creationId xmlns:a16="http://schemas.microsoft.com/office/drawing/2014/main" id="{F760C1C5-4342-C346-A7D2-D101978EDF66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114" name="矩形 13">
              <a:extLst>
                <a:ext uri="{FF2B5EF4-FFF2-40B4-BE49-F238E27FC236}">
                  <a16:creationId xmlns:a16="http://schemas.microsoft.com/office/drawing/2014/main" id="{5BB50A4A-0B64-7E4C-824C-1EBCA1A992CF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115" name="矩形 13">
              <a:extLst>
                <a:ext uri="{FF2B5EF4-FFF2-40B4-BE49-F238E27FC236}">
                  <a16:creationId xmlns:a16="http://schemas.microsoft.com/office/drawing/2014/main" id="{756A7E25-6C44-8A44-A8C5-61D19BC9EDAF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116" name="矩形 13">
              <a:extLst>
                <a:ext uri="{FF2B5EF4-FFF2-40B4-BE49-F238E27FC236}">
                  <a16:creationId xmlns:a16="http://schemas.microsoft.com/office/drawing/2014/main" id="{96588389-39CD-DF4E-B9AC-92091E25724E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117" name="矩形 13">
              <a:extLst>
                <a:ext uri="{FF2B5EF4-FFF2-40B4-BE49-F238E27FC236}">
                  <a16:creationId xmlns:a16="http://schemas.microsoft.com/office/drawing/2014/main" id="{20725C9F-31AE-DB44-B70A-B4ECDEC0BC00}"/>
                </a:ext>
              </a:extLst>
            </p:cNvPr>
            <p:cNvSpPr/>
            <p:nvPr/>
          </p:nvSpPr>
          <p:spPr>
            <a:xfrm>
              <a:off x="7811114" y="3415851"/>
              <a:ext cx="791510" cy="664398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8" name="矩形 13">
              <a:extLst>
                <a:ext uri="{FF2B5EF4-FFF2-40B4-BE49-F238E27FC236}">
                  <a16:creationId xmlns:a16="http://schemas.microsoft.com/office/drawing/2014/main" id="{AC5BCC27-B68D-0743-8E0B-E25F8D01C3A4}"/>
                </a:ext>
              </a:extLst>
            </p:cNvPr>
            <p:cNvSpPr/>
            <p:nvPr/>
          </p:nvSpPr>
          <p:spPr>
            <a:xfrm>
              <a:off x="7820945" y="4866463"/>
              <a:ext cx="791510" cy="664398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119" name="矩形 13">
              <a:extLst>
                <a:ext uri="{FF2B5EF4-FFF2-40B4-BE49-F238E27FC236}">
                  <a16:creationId xmlns:a16="http://schemas.microsoft.com/office/drawing/2014/main" id="{51C2E83A-C975-6945-B2FD-5B22BBB53DB7}"/>
                </a:ext>
              </a:extLst>
            </p:cNvPr>
            <p:cNvSpPr/>
            <p:nvPr/>
          </p:nvSpPr>
          <p:spPr>
            <a:xfrm>
              <a:off x="7818707" y="4134866"/>
              <a:ext cx="791510" cy="664398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120" name="矩形 13">
              <a:extLst>
                <a:ext uri="{FF2B5EF4-FFF2-40B4-BE49-F238E27FC236}">
                  <a16:creationId xmlns:a16="http://schemas.microsoft.com/office/drawing/2014/main" id="{BEE9A95F-6965-354F-A2C7-2E8C81DDA52F}"/>
                </a:ext>
              </a:extLst>
            </p:cNvPr>
            <p:cNvSpPr/>
            <p:nvPr/>
          </p:nvSpPr>
          <p:spPr>
            <a:xfrm>
              <a:off x="7823691" y="5596166"/>
              <a:ext cx="791510" cy="664398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190/233/238</a:t>
              </a:r>
            </a:p>
          </p:txBody>
        </p:sp>
        <p:sp>
          <p:nvSpPr>
            <p:cNvPr id="121" name="矩形 13">
              <a:extLst>
                <a:ext uri="{FF2B5EF4-FFF2-40B4-BE49-F238E27FC236}">
                  <a16:creationId xmlns:a16="http://schemas.microsoft.com/office/drawing/2014/main" id="{509164EB-3DC4-7A4F-9E7C-06EBC981CD0A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122" name="矩形 13">
              <a:extLst>
                <a:ext uri="{FF2B5EF4-FFF2-40B4-BE49-F238E27FC236}">
                  <a16:creationId xmlns:a16="http://schemas.microsoft.com/office/drawing/2014/main" id="{667867DD-D3E6-3040-A7B5-39345C0CE2E3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123" name="矩形 13">
              <a:extLst>
                <a:ext uri="{FF2B5EF4-FFF2-40B4-BE49-F238E27FC236}">
                  <a16:creationId xmlns:a16="http://schemas.microsoft.com/office/drawing/2014/main" id="{9EE10597-3782-AB46-8453-89FA049C6C46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0/0/0</a:t>
              </a:r>
            </a:p>
          </p:txBody>
        </p:sp>
        <p:sp>
          <p:nvSpPr>
            <p:cNvPr id="124" name="矩形 13">
              <a:extLst>
                <a:ext uri="{FF2B5EF4-FFF2-40B4-BE49-F238E27FC236}">
                  <a16:creationId xmlns:a16="http://schemas.microsoft.com/office/drawing/2014/main" id="{966B3529-B594-884C-BED0-5887B34BBBB8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125" name="矩形 13">
              <a:extLst>
                <a:ext uri="{FF2B5EF4-FFF2-40B4-BE49-F238E27FC236}">
                  <a16:creationId xmlns:a16="http://schemas.microsoft.com/office/drawing/2014/main" id="{0B0545C9-147F-584F-80D2-EF13876D7D33}"/>
                </a:ext>
              </a:extLst>
            </p:cNvPr>
            <p:cNvSpPr/>
            <p:nvPr userDrawn="1"/>
          </p:nvSpPr>
          <p:spPr>
            <a:xfrm>
              <a:off x="6445335" y="6324024"/>
              <a:ext cx="513579" cy="664398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126" name="矩形 13">
              <a:extLst>
                <a:ext uri="{FF2B5EF4-FFF2-40B4-BE49-F238E27FC236}">
                  <a16:creationId xmlns:a16="http://schemas.microsoft.com/office/drawing/2014/main" id="{44FD0A0B-0D45-3340-A523-465AC24134BF}"/>
                </a:ext>
              </a:extLst>
            </p:cNvPr>
            <p:cNvSpPr/>
            <p:nvPr userDrawn="1"/>
          </p:nvSpPr>
          <p:spPr>
            <a:xfrm>
              <a:off x="7003279" y="6324024"/>
              <a:ext cx="513579" cy="664398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127" name="矩形 13">
              <a:extLst>
                <a:ext uri="{FF2B5EF4-FFF2-40B4-BE49-F238E27FC236}">
                  <a16:creationId xmlns:a16="http://schemas.microsoft.com/office/drawing/2014/main" id="{2C404A07-276B-3648-BB25-4EDB5905448C}"/>
                </a:ext>
              </a:extLst>
            </p:cNvPr>
            <p:cNvSpPr/>
            <p:nvPr userDrawn="1"/>
          </p:nvSpPr>
          <p:spPr>
            <a:xfrm>
              <a:off x="7551547" y="6324024"/>
              <a:ext cx="513579" cy="664398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128" name="矩形 13">
              <a:extLst>
                <a:ext uri="{FF2B5EF4-FFF2-40B4-BE49-F238E27FC236}">
                  <a16:creationId xmlns:a16="http://schemas.microsoft.com/office/drawing/2014/main" id="{72B0F29C-A346-8946-9B8E-8F1B9DFF7AD0}"/>
                </a:ext>
              </a:extLst>
            </p:cNvPr>
            <p:cNvSpPr/>
            <p:nvPr userDrawn="1"/>
          </p:nvSpPr>
          <p:spPr>
            <a:xfrm>
              <a:off x="8098559" y="6324024"/>
              <a:ext cx="513579" cy="66439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</a:t>
              </a:r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923816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7" y="6356939"/>
            <a:ext cx="35039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altLang="zh-CN" sz="9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Proprietary - Restricted Distribution</a:t>
            </a:r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1" y="6402806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849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90849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7333705-F8D6-2847-B3CB-F2FAB51E2A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0" y="2625389"/>
            <a:ext cx="1967973" cy="4233515"/>
            <a:chOff x="5343885" y="-48857"/>
            <a:chExt cx="3271316" cy="7037279"/>
          </a:xfrm>
        </p:grpSpPr>
        <p:sp>
          <p:nvSpPr>
            <p:cNvPr id="89" name="矩形 13">
              <a:extLst>
                <a:ext uri="{FF2B5EF4-FFF2-40B4-BE49-F238E27FC236}">
                  <a16:creationId xmlns:a16="http://schemas.microsoft.com/office/drawing/2014/main" id="{B14DFA89-D483-CF47-82CC-DD86D7CAB09E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90" name="文本框 15">
              <a:extLst>
                <a:ext uri="{FF2B5EF4-FFF2-40B4-BE49-F238E27FC236}">
                  <a16:creationId xmlns:a16="http://schemas.microsoft.com/office/drawing/2014/main" id="{8223ADA0-340A-794B-93B7-24AFF612A719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400"/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91" name="矩形 13">
              <a:extLst>
                <a:ext uri="{FF2B5EF4-FFF2-40B4-BE49-F238E27FC236}">
                  <a16:creationId xmlns:a16="http://schemas.microsoft.com/office/drawing/2014/main" id="{5F63E0E3-4F22-7948-AB1A-40A84ECA92EC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2" name="矩形 13">
              <a:extLst>
                <a:ext uri="{FF2B5EF4-FFF2-40B4-BE49-F238E27FC236}">
                  <a16:creationId xmlns:a16="http://schemas.microsoft.com/office/drawing/2014/main" id="{29C4A3C6-7C7B-7140-8F73-591E9F49143F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93" name="矩形 13">
              <a:extLst>
                <a:ext uri="{FF2B5EF4-FFF2-40B4-BE49-F238E27FC236}">
                  <a16:creationId xmlns:a16="http://schemas.microsoft.com/office/drawing/2014/main" id="{BE4C9A8D-46B0-5B40-BC47-DB6C4899227F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94" name="矩形 13">
              <a:extLst>
                <a:ext uri="{FF2B5EF4-FFF2-40B4-BE49-F238E27FC236}">
                  <a16:creationId xmlns:a16="http://schemas.microsoft.com/office/drawing/2014/main" id="{612F2ED4-F7A4-9E48-95E1-8D07B3BBE962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95" name="矩形 13">
              <a:extLst>
                <a:ext uri="{FF2B5EF4-FFF2-40B4-BE49-F238E27FC236}">
                  <a16:creationId xmlns:a16="http://schemas.microsoft.com/office/drawing/2014/main" id="{A9E1D476-C288-8945-A68A-1F20C557294B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6" name="矩形 13">
              <a:extLst>
                <a:ext uri="{FF2B5EF4-FFF2-40B4-BE49-F238E27FC236}">
                  <a16:creationId xmlns:a16="http://schemas.microsoft.com/office/drawing/2014/main" id="{42823EBB-E62E-F149-AC9A-09950051F283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5C</a:t>
              </a: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97" name="文本框 15">
              <a:extLst>
                <a:ext uri="{FF2B5EF4-FFF2-40B4-BE49-F238E27FC236}">
                  <a16:creationId xmlns:a16="http://schemas.microsoft.com/office/drawing/2014/main" id="{EA01C299-6FF2-3642-AAEC-A1DF62D9C654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400"/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98" name="矩形 13">
              <a:extLst>
                <a:ext uri="{FF2B5EF4-FFF2-40B4-BE49-F238E27FC236}">
                  <a16:creationId xmlns:a16="http://schemas.microsoft.com/office/drawing/2014/main" id="{B84AB502-165F-764A-9621-65CA8CBBEAEA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6C</a:t>
              </a: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99" name="矩形 13">
              <a:extLst>
                <a:ext uri="{FF2B5EF4-FFF2-40B4-BE49-F238E27FC236}">
                  <a16:creationId xmlns:a16="http://schemas.microsoft.com/office/drawing/2014/main" id="{CB8870E8-3E95-764C-B621-A168E194CC7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00" name="矩形 13">
              <a:extLst>
                <a:ext uri="{FF2B5EF4-FFF2-40B4-BE49-F238E27FC236}">
                  <a16:creationId xmlns:a16="http://schemas.microsoft.com/office/drawing/2014/main" id="{356EF69A-1936-544F-A95F-0664F4E186D5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01" name="矩形 13">
              <a:extLst>
                <a:ext uri="{FF2B5EF4-FFF2-40B4-BE49-F238E27FC236}">
                  <a16:creationId xmlns:a16="http://schemas.microsoft.com/office/drawing/2014/main" id="{03EBAB43-95A5-1C4A-8458-B86EB3D51FCA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02" name="矩形 13">
              <a:extLst>
                <a:ext uri="{FF2B5EF4-FFF2-40B4-BE49-F238E27FC236}">
                  <a16:creationId xmlns:a16="http://schemas.microsoft.com/office/drawing/2014/main" id="{371A8520-F934-304C-B57F-B49F768694E2}"/>
                </a:ext>
              </a:extLst>
            </p:cNvPr>
            <p:cNvSpPr/>
            <p:nvPr userDrawn="1"/>
          </p:nvSpPr>
          <p:spPr>
            <a:xfrm>
              <a:off x="6184543" y="4866463"/>
              <a:ext cx="791510" cy="664398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103" name="矩形 13">
              <a:extLst>
                <a:ext uri="{FF2B5EF4-FFF2-40B4-BE49-F238E27FC236}">
                  <a16:creationId xmlns:a16="http://schemas.microsoft.com/office/drawing/2014/main" id="{B83004D7-279B-C14E-9FCF-870FA1B74FDF}"/>
                </a:ext>
              </a:extLst>
            </p:cNvPr>
            <p:cNvSpPr/>
            <p:nvPr userDrawn="1"/>
          </p:nvSpPr>
          <p:spPr>
            <a:xfrm>
              <a:off x="6182308" y="4134866"/>
              <a:ext cx="791510" cy="664398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104" name="矩形 13">
              <a:extLst>
                <a:ext uri="{FF2B5EF4-FFF2-40B4-BE49-F238E27FC236}">
                  <a16:creationId xmlns:a16="http://schemas.microsoft.com/office/drawing/2014/main" id="{99635968-4E69-CC41-9D78-6DF253FE3035}"/>
                </a:ext>
              </a:extLst>
            </p:cNvPr>
            <p:cNvSpPr/>
            <p:nvPr userDrawn="1"/>
          </p:nvSpPr>
          <p:spPr>
            <a:xfrm>
              <a:off x="6177324" y="5596166"/>
              <a:ext cx="791510" cy="664398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105" name="矩形 13">
              <a:extLst>
                <a:ext uri="{FF2B5EF4-FFF2-40B4-BE49-F238E27FC236}">
                  <a16:creationId xmlns:a16="http://schemas.microsoft.com/office/drawing/2014/main" id="{BDBE4949-07B7-F046-AD95-68E4B0C11CCD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106" name="矩形 13">
              <a:extLst>
                <a:ext uri="{FF2B5EF4-FFF2-40B4-BE49-F238E27FC236}">
                  <a16:creationId xmlns:a16="http://schemas.microsoft.com/office/drawing/2014/main" id="{AA9F9E00-6A31-F14B-A2E4-79908835FD1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107" name="矩形 13">
              <a:extLst>
                <a:ext uri="{FF2B5EF4-FFF2-40B4-BE49-F238E27FC236}">
                  <a16:creationId xmlns:a16="http://schemas.microsoft.com/office/drawing/2014/main" id="{38715A31-485E-B744-B409-43F9F04B48F7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108" name="矩形 13">
              <a:extLst>
                <a:ext uri="{FF2B5EF4-FFF2-40B4-BE49-F238E27FC236}">
                  <a16:creationId xmlns:a16="http://schemas.microsoft.com/office/drawing/2014/main" id="{4AE1609B-25DD-2C4A-B05B-D18ADBC39C71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109" name="矩形 13">
              <a:extLst>
                <a:ext uri="{FF2B5EF4-FFF2-40B4-BE49-F238E27FC236}">
                  <a16:creationId xmlns:a16="http://schemas.microsoft.com/office/drawing/2014/main" id="{ECE90F9F-DBBC-0B49-A42C-8B62397E473E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0" name="矩形 13">
              <a:extLst>
                <a:ext uri="{FF2B5EF4-FFF2-40B4-BE49-F238E27FC236}">
                  <a16:creationId xmlns:a16="http://schemas.microsoft.com/office/drawing/2014/main" id="{D5B387BA-F8B8-B54E-966E-F24E271747C4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111" name="矩形 13">
              <a:extLst>
                <a:ext uri="{FF2B5EF4-FFF2-40B4-BE49-F238E27FC236}">
                  <a16:creationId xmlns:a16="http://schemas.microsoft.com/office/drawing/2014/main" id="{E6C9B99E-8C1C-2B49-B82E-3C754B8E5C02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112" name="矩形 13">
              <a:extLst>
                <a:ext uri="{FF2B5EF4-FFF2-40B4-BE49-F238E27FC236}">
                  <a16:creationId xmlns:a16="http://schemas.microsoft.com/office/drawing/2014/main" id="{0106BFA2-9DE1-3A42-A6C6-69BCE0FA34F4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113" name="矩形 13">
              <a:extLst>
                <a:ext uri="{FF2B5EF4-FFF2-40B4-BE49-F238E27FC236}">
                  <a16:creationId xmlns:a16="http://schemas.microsoft.com/office/drawing/2014/main" id="{F760C1C5-4342-C346-A7D2-D101978EDF66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114" name="矩形 13">
              <a:extLst>
                <a:ext uri="{FF2B5EF4-FFF2-40B4-BE49-F238E27FC236}">
                  <a16:creationId xmlns:a16="http://schemas.microsoft.com/office/drawing/2014/main" id="{5BB50A4A-0B64-7E4C-824C-1EBCA1A992CF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115" name="矩形 13">
              <a:extLst>
                <a:ext uri="{FF2B5EF4-FFF2-40B4-BE49-F238E27FC236}">
                  <a16:creationId xmlns:a16="http://schemas.microsoft.com/office/drawing/2014/main" id="{756A7E25-6C44-8A44-A8C5-61D19BC9EDAF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116" name="矩形 13">
              <a:extLst>
                <a:ext uri="{FF2B5EF4-FFF2-40B4-BE49-F238E27FC236}">
                  <a16:creationId xmlns:a16="http://schemas.microsoft.com/office/drawing/2014/main" id="{96588389-39CD-DF4E-B9AC-92091E25724E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117" name="矩形 13">
              <a:extLst>
                <a:ext uri="{FF2B5EF4-FFF2-40B4-BE49-F238E27FC236}">
                  <a16:creationId xmlns:a16="http://schemas.microsoft.com/office/drawing/2014/main" id="{20725C9F-31AE-DB44-B70A-B4ECDEC0BC00}"/>
                </a:ext>
              </a:extLst>
            </p:cNvPr>
            <p:cNvSpPr/>
            <p:nvPr/>
          </p:nvSpPr>
          <p:spPr>
            <a:xfrm>
              <a:off x="7811114" y="3415851"/>
              <a:ext cx="791510" cy="664398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8" name="矩形 13">
              <a:extLst>
                <a:ext uri="{FF2B5EF4-FFF2-40B4-BE49-F238E27FC236}">
                  <a16:creationId xmlns:a16="http://schemas.microsoft.com/office/drawing/2014/main" id="{AC5BCC27-B68D-0743-8E0B-E25F8D01C3A4}"/>
                </a:ext>
              </a:extLst>
            </p:cNvPr>
            <p:cNvSpPr/>
            <p:nvPr/>
          </p:nvSpPr>
          <p:spPr>
            <a:xfrm>
              <a:off x="7820945" y="4866463"/>
              <a:ext cx="791510" cy="664398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119" name="矩形 13">
              <a:extLst>
                <a:ext uri="{FF2B5EF4-FFF2-40B4-BE49-F238E27FC236}">
                  <a16:creationId xmlns:a16="http://schemas.microsoft.com/office/drawing/2014/main" id="{51C2E83A-C975-6945-B2FD-5B22BBB53DB7}"/>
                </a:ext>
              </a:extLst>
            </p:cNvPr>
            <p:cNvSpPr/>
            <p:nvPr/>
          </p:nvSpPr>
          <p:spPr>
            <a:xfrm>
              <a:off x="7818707" y="4134866"/>
              <a:ext cx="791510" cy="664398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120" name="矩形 13">
              <a:extLst>
                <a:ext uri="{FF2B5EF4-FFF2-40B4-BE49-F238E27FC236}">
                  <a16:creationId xmlns:a16="http://schemas.microsoft.com/office/drawing/2014/main" id="{BEE9A95F-6965-354F-A2C7-2E8C81DDA52F}"/>
                </a:ext>
              </a:extLst>
            </p:cNvPr>
            <p:cNvSpPr/>
            <p:nvPr/>
          </p:nvSpPr>
          <p:spPr>
            <a:xfrm>
              <a:off x="7823691" y="5596166"/>
              <a:ext cx="791510" cy="664398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190/233/238</a:t>
              </a:r>
            </a:p>
          </p:txBody>
        </p:sp>
        <p:sp>
          <p:nvSpPr>
            <p:cNvPr id="121" name="矩形 13">
              <a:extLst>
                <a:ext uri="{FF2B5EF4-FFF2-40B4-BE49-F238E27FC236}">
                  <a16:creationId xmlns:a16="http://schemas.microsoft.com/office/drawing/2014/main" id="{509164EB-3DC4-7A4F-9E7C-06EBC981CD0A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122" name="矩形 13">
              <a:extLst>
                <a:ext uri="{FF2B5EF4-FFF2-40B4-BE49-F238E27FC236}">
                  <a16:creationId xmlns:a16="http://schemas.microsoft.com/office/drawing/2014/main" id="{667867DD-D3E6-3040-A7B5-39345C0CE2E3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123" name="矩形 13">
              <a:extLst>
                <a:ext uri="{FF2B5EF4-FFF2-40B4-BE49-F238E27FC236}">
                  <a16:creationId xmlns:a16="http://schemas.microsoft.com/office/drawing/2014/main" id="{9EE10597-3782-AB46-8453-89FA049C6C46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0/0/0</a:t>
              </a:r>
            </a:p>
          </p:txBody>
        </p:sp>
        <p:sp>
          <p:nvSpPr>
            <p:cNvPr id="124" name="矩形 13">
              <a:extLst>
                <a:ext uri="{FF2B5EF4-FFF2-40B4-BE49-F238E27FC236}">
                  <a16:creationId xmlns:a16="http://schemas.microsoft.com/office/drawing/2014/main" id="{966B3529-B594-884C-BED0-5887B34BBBB8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125" name="矩形 13">
              <a:extLst>
                <a:ext uri="{FF2B5EF4-FFF2-40B4-BE49-F238E27FC236}">
                  <a16:creationId xmlns:a16="http://schemas.microsoft.com/office/drawing/2014/main" id="{0B0545C9-147F-584F-80D2-EF13876D7D33}"/>
                </a:ext>
              </a:extLst>
            </p:cNvPr>
            <p:cNvSpPr/>
            <p:nvPr userDrawn="1"/>
          </p:nvSpPr>
          <p:spPr>
            <a:xfrm>
              <a:off x="6445335" y="6324024"/>
              <a:ext cx="513579" cy="664398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126" name="矩形 13">
              <a:extLst>
                <a:ext uri="{FF2B5EF4-FFF2-40B4-BE49-F238E27FC236}">
                  <a16:creationId xmlns:a16="http://schemas.microsoft.com/office/drawing/2014/main" id="{44FD0A0B-0D45-3340-A523-465AC24134BF}"/>
                </a:ext>
              </a:extLst>
            </p:cNvPr>
            <p:cNvSpPr/>
            <p:nvPr userDrawn="1"/>
          </p:nvSpPr>
          <p:spPr>
            <a:xfrm>
              <a:off x="7003279" y="6324024"/>
              <a:ext cx="513579" cy="664398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127" name="矩形 13">
              <a:extLst>
                <a:ext uri="{FF2B5EF4-FFF2-40B4-BE49-F238E27FC236}">
                  <a16:creationId xmlns:a16="http://schemas.microsoft.com/office/drawing/2014/main" id="{2C404A07-276B-3648-BB25-4EDB5905448C}"/>
                </a:ext>
              </a:extLst>
            </p:cNvPr>
            <p:cNvSpPr/>
            <p:nvPr userDrawn="1"/>
          </p:nvSpPr>
          <p:spPr>
            <a:xfrm>
              <a:off x="7551547" y="6324024"/>
              <a:ext cx="513579" cy="664398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128" name="矩形 13">
              <a:extLst>
                <a:ext uri="{FF2B5EF4-FFF2-40B4-BE49-F238E27FC236}">
                  <a16:creationId xmlns:a16="http://schemas.microsoft.com/office/drawing/2014/main" id="{72B0F29C-A346-8946-9B8E-8F1B9DFF7AD0}"/>
                </a:ext>
              </a:extLst>
            </p:cNvPr>
            <p:cNvSpPr/>
            <p:nvPr userDrawn="1"/>
          </p:nvSpPr>
          <p:spPr>
            <a:xfrm>
              <a:off x="8098559" y="6324024"/>
              <a:ext cx="513579" cy="66439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400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</a:t>
              </a:r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668988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7798" rtl="0" eaLnBrk="1" latinLnBrk="0" hangingPunct="1">
        <a:lnSpc>
          <a:spcPct val="90000"/>
        </a:lnSpc>
        <a:spcBef>
          <a:spcPct val="0"/>
        </a:spcBef>
        <a:buNone/>
        <a:defRPr sz="57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50" indent="-296950" algn="l" defTabSz="1187798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849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7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648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5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447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60346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4245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8144" indent="-296950" algn="l" defTabSz="1187798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900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7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699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598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4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396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7297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1195" algn="l" defTabSz="1187798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8" y="6356939"/>
            <a:ext cx="146346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12"/>
            <a:r>
              <a:rPr lang="en-US" sz="9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2" y="6402808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493"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90493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7333705-F8D6-2847-B3CB-F2FAB51E2A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1" y="2625391"/>
            <a:ext cx="1963323" cy="4233515"/>
            <a:chOff x="5343885" y="-48857"/>
            <a:chExt cx="3263586" cy="7037279"/>
          </a:xfrm>
        </p:grpSpPr>
        <p:sp>
          <p:nvSpPr>
            <p:cNvPr id="89" name="矩形 13">
              <a:extLst>
                <a:ext uri="{FF2B5EF4-FFF2-40B4-BE49-F238E27FC236}">
                  <a16:creationId xmlns:a16="http://schemas.microsoft.com/office/drawing/2014/main" id="{B14DFA89-D483-CF47-82CC-DD86D7CAB09E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90" name="文本框 15">
              <a:extLst>
                <a:ext uri="{FF2B5EF4-FFF2-40B4-BE49-F238E27FC236}">
                  <a16:creationId xmlns:a16="http://schemas.microsoft.com/office/drawing/2014/main" id="{8223ADA0-340A-794B-93B7-24AFF612A719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112"/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91" name="矩形 13">
              <a:extLst>
                <a:ext uri="{FF2B5EF4-FFF2-40B4-BE49-F238E27FC236}">
                  <a16:creationId xmlns:a16="http://schemas.microsoft.com/office/drawing/2014/main" id="{5F63E0E3-4F22-7948-AB1A-40A84ECA92EC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2" name="矩形 13">
              <a:extLst>
                <a:ext uri="{FF2B5EF4-FFF2-40B4-BE49-F238E27FC236}">
                  <a16:creationId xmlns:a16="http://schemas.microsoft.com/office/drawing/2014/main" id="{29C4A3C6-7C7B-7140-8F73-591E9F49143F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93" name="矩形 13">
              <a:extLst>
                <a:ext uri="{FF2B5EF4-FFF2-40B4-BE49-F238E27FC236}">
                  <a16:creationId xmlns:a16="http://schemas.microsoft.com/office/drawing/2014/main" id="{BE4C9A8D-46B0-5B40-BC47-DB6C4899227F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94" name="矩形 13">
              <a:extLst>
                <a:ext uri="{FF2B5EF4-FFF2-40B4-BE49-F238E27FC236}">
                  <a16:creationId xmlns:a16="http://schemas.microsoft.com/office/drawing/2014/main" id="{612F2ED4-F7A4-9E48-95E1-8D07B3BBE962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95" name="矩形 13">
              <a:extLst>
                <a:ext uri="{FF2B5EF4-FFF2-40B4-BE49-F238E27FC236}">
                  <a16:creationId xmlns:a16="http://schemas.microsoft.com/office/drawing/2014/main" id="{A9E1D476-C288-8945-A68A-1F20C557294B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6" name="矩形 13">
              <a:extLst>
                <a:ext uri="{FF2B5EF4-FFF2-40B4-BE49-F238E27FC236}">
                  <a16:creationId xmlns:a16="http://schemas.microsoft.com/office/drawing/2014/main" id="{42823EBB-E62E-F149-AC9A-09950051F283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5C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97" name="文本框 15">
              <a:extLst>
                <a:ext uri="{FF2B5EF4-FFF2-40B4-BE49-F238E27FC236}">
                  <a16:creationId xmlns:a16="http://schemas.microsoft.com/office/drawing/2014/main" id="{EA01C299-6FF2-3642-AAEC-A1DF62D9C654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112"/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98" name="矩形 13">
              <a:extLst>
                <a:ext uri="{FF2B5EF4-FFF2-40B4-BE49-F238E27FC236}">
                  <a16:creationId xmlns:a16="http://schemas.microsoft.com/office/drawing/2014/main" id="{B84AB502-165F-764A-9621-65CA8CBBEAEA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6C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99" name="矩形 13">
              <a:extLst>
                <a:ext uri="{FF2B5EF4-FFF2-40B4-BE49-F238E27FC236}">
                  <a16:creationId xmlns:a16="http://schemas.microsoft.com/office/drawing/2014/main" id="{CB8870E8-3E95-764C-B621-A168E194CC7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00" name="矩形 13">
              <a:extLst>
                <a:ext uri="{FF2B5EF4-FFF2-40B4-BE49-F238E27FC236}">
                  <a16:creationId xmlns:a16="http://schemas.microsoft.com/office/drawing/2014/main" id="{356EF69A-1936-544F-A95F-0664F4E186D5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01" name="矩形 13">
              <a:extLst>
                <a:ext uri="{FF2B5EF4-FFF2-40B4-BE49-F238E27FC236}">
                  <a16:creationId xmlns:a16="http://schemas.microsoft.com/office/drawing/2014/main" id="{03EBAB43-95A5-1C4A-8458-B86EB3D51FCA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02" name="矩形 13">
              <a:extLst>
                <a:ext uri="{FF2B5EF4-FFF2-40B4-BE49-F238E27FC236}">
                  <a16:creationId xmlns:a16="http://schemas.microsoft.com/office/drawing/2014/main" id="{371A8520-F934-304C-B57F-B49F768694E2}"/>
                </a:ext>
              </a:extLst>
            </p:cNvPr>
            <p:cNvSpPr/>
            <p:nvPr userDrawn="1"/>
          </p:nvSpPr>
          <p:spPr>
            <a:xfrm>
              <a:off x="6194511" y="4866463"/>
              <a:ext cx="791510" cy="664397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103" name="矩形 13">
              <a:extLst>
                <a:ext uri="{FF2B5EF4-FFF2-40B4-BE49-F238E27FC236}">
                  <a16:creationId xmlns:a16="http://schemas.microsoft.com/office/drawing/2014/main" id="{B83004D7-279B-C14E-9FCF-870FA1B74FDF}"/>
                </a:ext>
              </a:extLst>
            </p:cNvPr>
            <p:cNvSpPr/>
            <p:nvPr userDrawn="1"/>
          </p:nvSpPr>
          <p:spPr>
            <a:xfrm>
              <a:off x="6192274" y="4134866"/>
              <a:ext cx="791510" cy="664397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104" name="矩形 13">
              <a:extLst>
                <a:ext uri="{FF2B5EF4-FFF2-40B4-BE49-F238E27FC236}">
                  <a16:creationId xmlns:a16="http://schemas.microsoft.com/office/drawing/2014/main" id="{99635968-4E69-CC41-9D78-6DF253FE3035}"/>
                </a:ext>
              </a:extLst>
            </p:cNvPr>
            <p:cNvSpPr/>
            <p:nvPr userDrawn="1"/>
          </p:nvSpPr>
          <p:spPr>
            <a:xfrm>
              <a:off x="6192274" y="5596166"/>
              <a:ext cx="791510" cy="664397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105" name="矩形 13">
              <a:extLst>
                <a:ext uri="{FF2B5EF4-FFF2-40B4-BE49-F238E27FC236}">
                  <a16:creationId xmlns:a16="http://schemas.microsoft.com/office/drawing/2014/main" id="{BDBE4949-07B7-F046-AD95-68E4B0C11CCD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106" name="矩形 13">
              <a:extLst>
                <a:ext uri="{FF2B5EF4-FFF2-40B4-BE49-F238E27FC236}">
                  <a16:creationId xmlns:a16="http://schemas.microsoft.com/office/drawing/2014/main" id="{AA9F9E00-6A31-F14B-A2E4-79908835FD1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107" name="矩形 13">
              <a:extLst>
                <a:ext uri="{FF2B5EF4-FFF2-40B4-BE49-F238E27FC236}">
                  <a16:creationId xmlns:a16="http://schemas.microsoft.com/office/drawing/2014/main" id="{38715A31-485E-B744-B409-43F9F04B48F7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108" name="矩形 13">
              <a:extLst>
                <a:ext uri="{FF2B5EF4-FFF2-40B4-BE49-F238E27FC236}">
                  <a16:creationId xmlns:a16="http://schemas.microsoft.com/office/drawing/2014/main" id="{4AE1609B-25DD-2C4A-B05B-D18ADBC39C71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109" name="矩形 13">
              <a:extLst>
                <a:ext uri="{FF2B5EF4-FFF2-40B4-BE49-F238E27FC236}">
                  <a16:creationId xmlns:a16="http://schemas.microsoft.com/office/drawing/2014/main" id="{ECE90F9F-DBBC-0B49-A42C-8B62397E473E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0" name="矩形 13">
              <a:extLst>
                <a:ext uri="{FF2B5EF4-FFF2-40B4-BE49-F238E27FC236}">
                  <a16:creationId xmlns:a16="http://schemas.microsoft.com/office/drawing/2014/main" id="{D5B387BA-F8B8-B54E-966E-F24E271747C4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111" name="矩形 13">
              <a:extLst>
                <a:ext uri="{FF2B5EF4-FFF2-40B4-BE49-F238E27FC236}">
                  <a16:creationId xmlns:a16="http://schemas.microsoft.com/office/drawing/2014/main" id="{E6C9B99E-8C1C-2B49-B82E-3C754B8E5C02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112" name="矩形 13">
              <a:extLst>
                <a:ext uri="{FF2B5EF4-FFF2-40B4-BE49-F238E27FC236}">
                  <a16:creationId xmlns:a16="http://schemas.microsoft.com/office/drawing/2014/main" id="{0106BFA2-9DE1-3A42-A6C6-69BCE0FA34F4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113" name="矩形 13">
              <a:extLst>
                <a:ext uri="{FF2B5EF4-FFF2-40B4-BE49-F238E27FC236}">
                  <a16:creationId xmlns:a16="http://schemas.microsoft.com/office/drawing/2014/main" id="{F760C1C5-4342-C346-A7D2-D101978EDF66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114" name="矩形 13">
              <a:extLst>
                <a:ext uri="{FF2B5EF4-FFF2-40B4-BE49-F238E27FC236}">
                  <a16:creationId xmlns:a16="http://schemas.microsoft.com/office/drawing/2014/main" id="{5BB50A4A-0B64-7E4C-824C-1EBCA1A992CF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115" name="矩形 13">
              <a:extLst>
                <a:ext uri="{FF2B5EF4-FFF2-40B4-BE49-F238E27FC236}">
                  <a16:creationId xmlns:a16="http://schemas.microsoft.com/office/drawing/2014/main" id="{756A7E25-6C44-8A44-A8C5-61D19BC9EDAF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116" name="矩形 13">
              <a:extLst>
                <a:ext uri="{FF2B5EF4-FFF2-40B4-BE49-F238E27FC236}">
                  <a16:creationId xmlns:a16="http://schemas.microsoft.com/office/drawing/2014/main" id="{96588389-39CD-DF4E-B9AC-92091E25724E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117" name="矩形 13">
              <a:extLst>
                <a:ext uri="{FF2B5EF4-FFF2-40B4-BE49-F238E27FC236}">
                  <a16:creationId xmlns:a16="http://schemas.microsoft.com/office/drawing/2014/main" id="{20725C9F-31AE-DB44-B70A-B4ECDEC0BC00}"/>
                </a:ext>
              </a:extLst>
            </p:cNvPr>
            <p:cNvSpPr/>
            <p:nvPr/>
          </p:nvSpPr>
          <p:spPr>
            <a:xfrm>
              <a:off x="7806130" y="3415851"/>
              <a:ext cx="791510" cy="664397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8" name="矩形 13">
              <a:extLst>
                <a:ext uri="{FF2B5EF4-FFF2-40B4-BE49-F238E27FC236}">
                  <a16:creationId xmlns:a16="http://schemas.microsoft.com/office/drawing/2014/main" id="{AC5BCC27-B68D-0743-8E0B-E25F8D01C3A4}"/>
                </a:ext>
              </a:extLst>
            </p:cNvPr>
            <p:cNvSpPr/>
            <p:nvPr/>
          </p:nvSpPr>
          <p:spPr>
            <a:xfrm>
              <a:off x="7815961" y="4866463"/>
              <a:ext cx="791510" cy="664397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119" name="矩形 13">
              <a:extLst>
                <a:ext uri="{FF2B5EF4-FFF2-40B4-BE49-F238E27FC236}">
                  <a16:creationId xmlns:a16="http://schemas.microsoft.com/office/drawing/2014/main" id="{51C2E83A-C975-6945-B2FD-5B22BBB53DB7}"/>
                </a:ext>
              </a:extLst>
            </p:cNvPr>
            <p:cNvSpPr/>
            <p:nvPr/>
          </p:nvSpPr>
          <p:spPr>
            <a:xfrm>
              <a:off x="7813724" y="4134866"/>
              <a:ext cx="791510" cy="664397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120" name="矩形 13">
              <a:extLst>
                <a:ext uri="{FF2B5EF4-FFF2-40B4-BE49-F238E27FC236}">
                  <a16:creationId xmlns:a16="http://schemas.microsoft.com/office/drawing/2014/main" id="{BEE9A95F-6965-354F-A2C7-2E8C81DDA52F}"/>
                </a:ext>
              </a:extLst>
            </p:cNvPr>
            <p:cNvSpPr/>
            <p:nvPr/>
          </p:nvSpPr>
          <p:spPr>
            <a:xfrm>
              <a:off x="7813724" y="5596166"/>
              <a:ext cx="791510" cy="664397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190/23/238</a:t>
              </a:r>
            </a:p>
          </p:txBody>
        </p:sp>
        <p:sp>
          <p:nvSpPr>
            <p:cNvPr id="121" name="矩形 13">
              <a:extLst>
                <a:ext uri="{FF2B5EF4-FFF2-40B4-BE49-F238E27FC236}">
                  <a16:creationId xmlns:a16="http://schemas.microsoft.com/office/drawing/2014/main" id="{509164EB-3DC4-7A4F-9E7C-06EBC981CD0A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122" name="矩形 13">
              <a:extLst>
                <a:ext uri="{FF2B5EF4-FFF2-40B4-BE49-F238E27FC236}">
                  <a16:creationId xmlns:a16="http://schemas.microsoft.com/office/drawing/2014/main" id="{667867DD-D3E6-3040-A7B5-39345C0CE2E3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123" name="矩形 13">
              <a:extLst>
                <a:ext uri="{FF2B5EF4-FFF2-40B4-BE49-F238E27FC236}">
                  <a16:creationId xmlns:a16="http://schemas.microsoft.com/office/drawing/2014/main" id="{9EE10597-3782-AB46-8453-89FA049C6C46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35/24/21</a:t>
              </a:r>
            </a:p>
          </p:txBody>
        </p:sp>
        <p:sp>
          <p:nvSpPr>
            <p:cNvPr id="124" name="矩形 13">
              <a:extLst>
                <a:ext uri="{FF2B5EF4-FFF2-40B4-BE49-F238E27FC236}">
                  <a16:creationId xmlns:a16="http://schemas.microsoft.com/office/drawing/2014/main" id="{966B3529-B594-884C-BED0-5887B34BBBB8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125" name="矩形 13">
              <a:extLst>
                <a:ext uri="{FF2B5EF4-FFF2-40B4-BE49-F238E27FC236}">
                  <a16:creationId xmlns:a16="http://schemas.microsoft.com/office/drawing/2014/main" id="{0B0545C9-147F-584F-80D2-EF13876D7D33}"/>
                </a:ext>
              </a:extLst>
            </p:cNvPr>
            <p:cNvSpPr/>
            <p:nvPr userDrawn="1"/>
          </p:nvSpPr>
          <p:spPr>
            <a:xfrm>
              <a:off x="6450318" y="6324025"/>
              <a:ext cx="513579" cy="664397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126" name="矩形 13">
              <a:extLst>
                <a:ext uri="{FF2B5EF4-FFF2-40B4-BE49-F238E27FC236}">
                  <a16:creationId xmlns:a16="http://schemas.microsoft.com/office/drawing/2014/main" id="{44FD0A0B-0D45-3340-A523-465AC24134BF}"/>
                </a:ext>
              </a:extLst>
            </p:cNvPr>
            <p:cNvSpPr/>
            <p:nvPr userDrawn="1"/>
          </p:nvSpPr>
          <p:spPr>
            <a:xfrm>
              <a:off x="6998296" y="6324025"/>
              <a:ext cx="513579" cy="664397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127" name="矩形 13">
              <a:extLst>
                <a:ext uri="{FF2B5EF4-FFF2-40B4-BE49-F238E27FC236}">
                  <a16:creationId xmlns:a16="http://schemas.microsoft.com/office/drawing/2014/main" id="{2C404A07-276B-3648-BB25-4EDB5905448C}"/>
                </a:ext>
              </a:extLst>
            </p:cNvPr>
            <p:cNvSpPr/>
            <p:nvPr userDrawn="1"/>
          </p:nvSpPr>
          <p:spPr>
            <a:xfrm>
              <a:off x="7541580" y="6324025"/>
              <a:ext cx="513579" cy="664397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128" name="矩形 13">
              <a:extLst>
                <a:ext uri="{FF2B5EF4-FFF2-40B4-BE49-F238E27FC236}">
                  <a16:creationId xmlns:a16="http://schemas.microsoft.com/office/drawing/2014/main" id="{72B0F29C-A346-8946-9B8E-8F1B9DFF7AD0}"/>
                </a:ext>
              </a:extLst>
            </p:cNvPr>
            <p:cNvSpPr/>
            <p:nvPr userDrawn="1"/>
          </p:nvSpPr>
          <p:spPr>
            <a:xfrm>
              <a:off x="8083608" y="6324025"/>
              <a:ext cx="513579" cy="66439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112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</a:t>
              </a:r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3723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59" r:id="rId1"/>
    <p:sldLayoutId id="2147485268" r:id="rId2"/>
    <p:sldLayoutId id="2147485269" r:id="rId3"/>
    <p:sldLayoutId id="2147485270" r:id="rId4"/>
    <p:sldLayoutId id="2147485271" r:id="rId5"/>
    <p:sldLayoutId id="2147485272" r:id="rId6"/>
    <p:sldLayoutId id="2147485276" r:id="rId7"/>
    <p:sldLayoutId id="2147485296" r:id="rId8"/>
    <p:sldLayoutId id="2147485297" r:id="rId9"/>
    <p:sldLayoutId id="2147485298" r:id="rId10"/>
    <p:sldLayoutId id="2147485302" r:id="rId11"/>
    <p:sldLayoutId id="2147485303" r:id="rId12"/>
    <p:sldLayoutId id="2147485308" r:id="rId13"/>
    <p:sldLayoutId id="2147485313" r:id="rId14"/>
    <p:sldLayoutId id="2147485318" r:id="rId15"/>
    <p:sldLayoutId id="2147485319" r:id="rId16"/>
    <p:sldLayoutId id="2147485320" r:id="rId17"/>
    <p:sldLayoutId id="2147485325" r:id="rId18"/>
    <p:sldLayoutId id="2147485326" r:id="rId19"/>
  </p:sldLayoutIdLst>
  <p:hf hdr="0" ftr="0" dt="0"/>
  <p:txStyles>
    <p:titleStyle>
      <a:lvl1pPr algn="l" defTabSz="1187323" rtl="0" eaLnBrk="1" latinLnBrk="0" hangingPunct="1">
        <a:lnSpc>
          <a:spcPct val="90000"/>
        </a:lnSpc>
        <a:spcBef>
          <a:spcPct val="0"/>
        </a:spcBef>
        <a:buNone/>
        <a:defRPr sz="571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31" indent="-296831" algn="l" defTabSz="1187323" rtl="0" eaLnBrk="1" latinLnBrk="0" hangingPunct="1">
        <a:lnSpc>
          <a:spcPct val="90000"/>
        </a:lnSpc>
        <a:spcBef>
          <a:spcPts val="1298"/>
        </a:spcBef>
        <a:buFont typeface="Arial" panose="020B0604020202020204" pitchFamily="34" charset="0"/>
        <a:buChar char="•"/>
        <a:defRPr sz="3635" kern="1200">
          <a:solidFill>
            <a:schemeClr val="tx1"/>
          </a:solidFill>
          <a:latin typeface="+mn-lt"/>
          <a:ea typeface="+mn-ea"/>
          <a:cs typeface="+mn-cs"/>
        </a:defRPr>
      </a:lvl1pPr>
      <a:lvl2pPr marL="890493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7" kern="1200">
          <a:solidFill>
            <a:schemeClr val="tx1"/>
          </a:solidFill>
          <a:latin typeface="+mn-lt"/>
          <a:ea typeface="+mn-ea"/>
          <a:cs typeface="+mn-cs"/>
        </a:defRPr>
      </a:lvl2pPr>
      <a:lvl3pPr marL="1484154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7" kern="1200">
          <a:solidFill>
            <a:schemeClr val="tx1"/>
          </a:solidFill>
          <a:latin typeface="+mn-lt"/>
          <a:ea typeface="+mn-ea"/>
          <a:cs typeface="+mn-cs"/>
        </a:defRPr>
      </a:lvl3pPr>
      <a:lvl4pPr marL="2077817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4pPr>
      <a:lvl5pPr marL="2671478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5pPr>
      <a:lvl6pPr marL="3265140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6pPr>
      <a:lvl7pPr marL="3858802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7pPr>
      <a:lvl8pPr marL="4452463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8pPr>
      <a:lvl9pPr marL="5046125" indent="-296831" algn="l" defTabSz="1187323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1pPr>
      <a:lvl2pPr marL="593662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2pPr>
      <a:lvl3pPr marL="1187323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3pPr>
      <a:lvl4pPr marL="1780986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4pPr>
      <a:lvl5pPr marL="2374648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5pPr>
      <a:lvl6pPr marL="2968309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6pPr>
      <a:lvl7pPr marL="3561971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7pPr>
      <a:lvl8pPr marL="4155634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8pPr>
      <a:lvl9pPr marL="4749295" algn="l" defTabSz="1187323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1">
          <p15:clr>
            <a:srgbClr val="F26B43"/>
          </p15:clr>
        </p15:guide>
        <p15:guide id="2" pos="3842">
          <p15:clr>
            <a:srgbClr val="F26B43"/>
          </p15:clr>
        </p15:guide>
        <p15:guide id="3" pos="458">
          <p15:clr>
            <a:srgbClr val="F26B43"/>
          </p15:clr>
        </p15:guide>
        <p15:guide id="4" pos="7225">
          <p15:clr>
            <a:srgbClr val="F26B43"/>
          </p15:clr>
        </p15:guide>
        <p15:guide id="5" orient="horz" pos="410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8" y="6356940"/>
            <a:ext cx="146346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067"/>
            <a:r>
              <a:rPr lang="en-US" sz="9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2" y="6402809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449">
              <a:defRPr/>
            </a:pPr>
            <a:fld id="{C3837181-38C6-AD4F-B8BA-B444770388BB}" type="slidenum">
              <a:rPr lang="en-US" sz="90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90449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7333705-F8D6-2847-B3CB-F2FAB51E2A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1" y="2625392"/>
            <a:ext cx="1963323" cy="4233515"/>
            <a:chOff x="5343885" y="-48857"/>
            <a:chExt cx="3263586" cy="7037279"/>
          </a:xfrm>
        </p:grpSpPr>
        <p:sp>
          <p:nvSpPr>
            <p:cNvPr id="89" name="矩形 13">
              <a:extLst>
                <a:ext uri="{FF2B5EF4-FFF2-40B4-BE49-F238E27FC236}">
                  <a16:creationId xmlns:a16="http://schemas.microsoft.com/office/drawing/2014/main" id="{B14DFA89-D483-CF47-82CC-DD86D7CAB09E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90" name="文本框 15">
              <a:extLst>
                <a:ext uri="{FF2B5EF4-FFF2-40B4-BE49-F238E27FC236}">
                  <a16:creationId xmlns:a16="http://schemas.microsoft.com/office/drawing/2014/main" id="{8223ADA0-340A-794B-93B7-24AFF612A719}"/>
                </a:ext>
              </a:extLst>
            </p:cNvPr>
            <p:cNvSpPr txBox="1"/>
            <p:nvPr userDrawn="1"/>
          </p:nvSpPr>
          <p:spPr>
            <a:xfrm>
              <a:off x="5352723" y="1694495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067"/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91" name="矩形 13">
              <a:extLst>
                <a:ext uri="{FF2B5EF4-FFF2-40B4-BE49-F238E27FC236}">
                  <a16:creationId xmlns:a16="http://schemas.microsoft.com/office/drawing/2014/main" id="{5F63E0E3-4F22-7948-AB1A-40A84ECA92EC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2" name="矩形 13">
              <a:extLst>
                <a:ext uri="{FF2B5EF4-FFF2-40B4-BE49-F238E27FC236}">
                  <a16:creationId xmlns:a16="http://schemas.microsoft.com/office/drawing/2014/main" id="{29C4A3C6-7C7B-7140-8F73-591E9F49143F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93" name="矩形 13">
              <a:extLst>
                <a:ext uri="{FF2B5EF4-FFF2-40B4-BE49-F238E27FC236}">
                  <a16:creationId xmlns:a16="http://schemas.microsoft.com/office/drawing/2014/main" id="{BE4C9A8D-46B0-5B40-BC47-DB6C4899227F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94" name="矩形 13">
              <a:extLst>
                <a:ext uri="{FF2B5EF4-FFF2-40B4-BE49-F238E27FC236}">
                  <a16:creationId xmlns:a16="http://schemas.microsoft.com/office/drawing/2014/main" id="{612F2ED4-F7A4-9E48-95E1-8D07B3BBE962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95" name="矩形 13">
              <a:extLst>
                <a:ext uri="{FF2B5EF4-FFF2-40B4-BE49-F238E27FC236}">
                  <a16:creationId xmlns:a16="http://schemas.microsoft.com/office/drawing/2014/main" id="{A9E1D476-C288-8945-A68A-1F20C557294B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6" name="矩形 13">
              <a:extLst>
                <a:ext uri="{FF2B5EF4-FFF2-40B4-BE49-F238E27FC236}">
                  <a16:creationId xmlns:a16="http://schemas.microsoft.com/office/drawing/2014/main" id="{42823EBB-E62E-F149-AC9A-09950051F283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5C</a:t>
              </a:r>
            </a:p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97" name="文本框 15">
              <a:extLst>
                <a:ext uri="{FF2B5EF4-FFF2-40B4-BE49-F238E27FC236}">
                  <a16:creationId xmlns:a16="http://schemas.microsoft.com/office/drawing/2014/main" id="{EA01C299-6FF2-3642-AAEC-A1DF62D9C654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067"/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98" name="矩形 13">
              <a:extLst>
                <a:ext uri="{FF2B5EF4-FFF2-40B4-BE49-F238E27FC236}">
                  <a16:creationId xmlns:a16="http://schemas.microsoft.com/office/drawing/2014/main" id="{B84AB502-165F-764A-9621-65CA8CBBEAEA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6C</a:t>
              </a:r>
            </a:p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99" name="矩形 13">
              <a:extLst>
                <a:ext uri="{FF2B5EF4-FFF2-40B4-BE49-F238E27FC236}">
                  <a16:creationId xmlns:a16="http://schemas.microsoft.com/office/drawing/2014/main" id="{CB8870E8-3E95-764C-B621-A168E194CC7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00" name="矩形 13">
              <a:extLst>
                <a:ext uri="{FF2B5EF4-FFF2-40B4-BE49-F238E27FC236}">
                  <a16:creationId xmlns:a16="http://schemas.microsoft.com/office/drawing/2014/main" id="{356EF69A-1936-544F-A95F-0664F4E186D5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01" name="矩形 13">
              <a:extLst>
                <a:ext uri="{FF2B5EF4-FFF2-40B4-BE49-F238E27FC236}">
                  <a16:creationId xmlns:a16="http://schemas.microsoft.com/office/drawing/2014/main" id="{03EBAB43-95A5-1C4A-8458-B86EB3D51FCA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02" name="矩形 13">
              <a:extLst>
                <a:ext uri="{FF2B5EF4-FFF2-40B4-BE49-F238E27FC236}">
                  <a16:creationId xmlns:a16="http://schemas.microsoft.com/office/drawing/2014/main" id="{371A8520-F934-304C-B57F-B49F768694E2}"/>
                </a:ext>
              </a:extLst>
            </p:cNvPr>
            <p:cNvSpPr/>
            <p:nvPr userDrawn="1"/>
          </p:nvSpPr>
          <p:spPr>
            <a:xfrm>
              <a:off x="6194511" y="4866463"/>
              <a:ext cx="791510" cy="664397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103" name="矩形 13">
              <a:extLst>
                <a:ext uri="{FF2B5EF4-FFF2-40B4-BE49-F238E27FC236}">
                  <a16:creationId xmlns:a16="http://schemas.microsoft.com/office/drawing/2014/main" id="{B83004D7-279B-C14E-9FCF-870FA1B74FDF}"/>
                </a:ext>
              </a:extLst>
            </p:cNvPr>
            <p:cNvSpPr/>
            <p:nvPr userDrawn="1"/>
          </p:nvSpPr>
          <p:spPr>
            <a:xfrm>
              <a:off x="6192274" y="4134866"/>
              <a:ext cx="791510" cy="664397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104" name="矩形 13">
              <a:extLst>
                <a:ext uri="{FF2B5EF4-FFF2-40B4-BE49-F238E27FC236}">
                  <a16:creationId xmlns:a16="http://schemas.microsoft.com/office/drawing/2014/main" id="{99635968-4E69-CC41-9D78-6DF253FE3035}"/>
                </a:ext>
              </a:extLst>
            </p:cNvPr>
            <p:cNvSpPr/>
            <p:nvPr userDrawn="1"/>
          </p:nvSpPr>
          <p:spPr>
            <a:xfrm>
              <a:off x="6192274" y="5596166"/>
              <a:ext cx="791510" cy="664397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105" name="矩形 13">
              <a:extLst>
                <a:ext uri="{FF2B5EF4-FFF2-40B4-BE49-F238E27FC236}">
                  <a16:creationId xmlns:a16="http://schemas.microsoft.com/office/drawing/2014/main" id="{BDBE4949-07B7-F046-AD95-68E4B0C11CCD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106" name="矩形 13">
              <a:extLst>
                <a:ext uri="{FF2B5EF4-FFF2-40B4-BE49-F238E27FC236}">
                  <a16:creationId xmlns:a16="http://schemas.microsoft.com/office/drawing/2014/main" id="{AA9F9E00-6A31-F14B-A2E4-79908835FD1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107" name="矩形 13">
              <a:extLst>
                <a:ext uri="{FF2B5EF4-FFF2-40B4-BE49-F238E27FC236}">
                  <a16:creationId xmlns:a16="http://schemas.microsoft.com/office/drawing/2014/main" id="{38715A31-485E-B744-B409-43F9F04B48F7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108" name="矩形 13">
              <a:extLst>
                <a:ext uri="{FF2B5EF4-FFF2-40B4-BE49-F238E27FC236}">
                  <a16:creationId xmlns:a16="http://schemas.microsoft.com/office/drawing/2014/main" id="{4AE1609B-25DD-2C4A-B05B-D18ADBC39C71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109" name="矩形 13">
              <a:extLst>
                <a:ext uri="{FF2B5EF4-FFF2-40B4-BE49-F238E27FC236}">
                  <a16:creationId xmlns:a16="http://schemas.microsoft.com/office/drawing/2014/main" id="{ECE90F9F-DBBC-0B49-A42C-8B62397E473E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0" name="矩形 13">
              <a:extLst>
                <a:ext uri="{FF2B5EF4-FFF2-40B4-BE49-F238E27FC236}">
                  <a16:creationId xmlns:a16="http://schemas.microsoft.com/office/drawing/2014/main" id="{D5B387BA-F8B8-B54E-966E-F24E271747C4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111" name="矩形 13">
              <a:extLst>
                <a:ext uri="{FF2B5EF4-FFF2-40B4-BE49-F238E27FC236}">
                  <a16:creationId xmlns:a16="http://schemas.microsoft.com/office/drawing/2014/main" id="{E6C9B99E-8C1C-2B49-B82E-3C754B8E5C02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112" name="矩形 13">
              <a:extLst>
                <a:ext uri="{FF2B5EF4-FFF2-40B4-BE49-F238E27FC236}">
                  <a16:creationId xmlns:a16="http://schemas.microsoft.com/office/drawing/2014/main" id="{0106BFA2-9DE1-3A42-A6C6-69BCE0FA34F4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113" name="矩形 13">
              <a:extLst>
                <a:ext uri="{FF2B5EF4-FFF2-40B4-BE49-F238E27FC236}">
                  <a16:creationId xmlns:a16="http://schemas.microsoft.com/office/drawing/2014/main" id="{F760C1C5-4342-C346-A7D2-D101978EDF66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114" name="矩形 13">
              <a:extLst>
                <a:ext uri="{FF2B5EF4-FFF2-40B4-BE49-F238E27FC236}">
                  <a16:creationId xmlns:a16="http://schemas.microsoft.com/office/drawing/2014/main" id="{5BB50A4A-0B64-7E4C-824C-1EBCA1A992CF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115" name="矩形 13">
              <a:extLst>
                <a:ext uri="{FF2B5EF4-FFF2-40B4-BE49-F238E27FC236}">
                  <a16:creationId xmlns:a16="http://schemas.microsoft.com/office/drawing/2014/main" id="{756A7E25-6C44-8A44-A8C5-61D19BC9EDAF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116" name="矩形 13">
              <a:extLst>
                <a:ext uri="{FF2B5EF4-FFF2-40B4-BE49-F238E27FC236}">
                  <a16:creationId xmlns:a16="http://schemas.microsoft.com/office/drawing/2014/main" id="{96588389-39CD-DF4E-B9AC-92091E25724E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117" name="矩形 13">
              <a:extLst>
                <a:ext uri="{FF2B5EF4-FFF2-40B4-BE49-F238E27FC236}">
                  <a16:creationId xmlns:a16="http://schemas.microsoft.com/office/drawing/2014/main" id="{20725C9F-31AE-DB44-B70A-B4ECDEC0BC00}"/>
                </a:ext>
              </a:extLst>
            </p:cNvPr>
            <p:cNvSpPr/>
            <p:nvPr/>
          </p:nvSpPr>
          <p:spPr>
            <a:xfrm>
              <a:off x="7806130" y="3415851"/>
              <a:ext cx="791510" cy="664397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8" name="矩形 13">
              <a:extLst>
                <a:ext uri="{FF2B5EF4-FFF2-40B4-BE49-F238E27FC236}">
                  <a16:creationId xmlns:a16="http://schemas.microsoft.com/office/drawing/2014/main" id="{AC5BCC27-B68D-0743-8E0B-E25F8D01C3A4}"/>
                </a:ext>
              </a:extLst>
            </p:cNvPr>
            <p:cNvSpPr/>
            <p:nvPr/>
          </p:nvSpPr>
          <p:spPr>
            <a:xfrm>
              <a:off x="7815961" y="4866463"/>
              <a:ext cx="791510" cy="664397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119" name="矩形 13">
              <a:extLst>
                <a:ext uri="{FF2B5EF4-FFF2-40B4-BE49-F238E27FC236}">
                  <a16:creationId xmlns:a16="http://schemas.microsoft.com/office/drawing/2014/main" id="{51C2E83A-C975-6945-B2FD-5B22BBB53DB7}"/>
                </a:ext>
              </a:extLst>
            </p:cNvPr>
            <p:cNvSpPr/>
            <p:nvPr/>
          </p:nvSpPr>
          <p:spPr>
            <a:xfrm>
              <a:off x="7813724" y="4134866"/>
              <a:ext cx="791510" cy="664397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120" name="矩形 13">
              <a:extLst>
                <a:ext uri="{FF2B5EF4-FFF2-40B4-BE49-F238E27FC236}">
                  <a16:creationId xmlns:a16="http://schemas.microsoft.com/office/drawing/2014/main" id="{BEE9A95F-6965-354F-A2C7-2E8C81DDA52F}"/>
                </a:ext>
              </a:extLst>
            </p:cNvPr>
            <p:cNvSpPr/>
            <p:nvPr/>
          </p:nvSpPr>
          <p:spPr>
            <a:xfrm>
              <a:off x="7813724" y="5596166"/>
              <a:ext cx="791510" cy="664397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190/23/238</a:t>
              </a:r>
            </a:p>
          </p:txBody>
        </p:sp>
        <p:sp>
          <p:nvSpPr>
            <p:cNvPr id="121" name="矩形 13">
              <a:extLst>
                <a:ext uri="{FF2B5EF4-FFF2-40B4-BE49-F238E27FC236}">
                  <a16:creationId xmlns:a16="http://schemas.microsoft.com/office/drawing/2014/main" id="{509164EB-3DC4-7A4F-9E7C-06EBC981CD0A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122" name="矩形 13">
              <a:extLst>
                <a:ext uri="{FF2B5EF4-FFF2-40B4-BE49-F238E27FC236}">
                  <a16:creationId xmlns:a16="http://schemas.microsoft.com/office/drawing/2014/main" id="{667867DD-D3E6-3040-A7B5-39345C0CE2E3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123" name="矩形 13">
              <a:extLst>
                <a:ext uri="{FF2B5EF4-FFF2-40B4-BE49-F238E27FC236}">
                  <a16:creationId xmlns:a16="http://schemas.microsoft.com/office/drawing/2014/main" id="{9EE10597-3782-AB46-8453-89FA049C6C46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35/24/21</a:t>
              </a:r>
            </a:p>
          </p:txBody>
        </p:sp>
        <p:sp>
          <p:nvSpPr>
            <p:cNvPr id="124" name="矩形 13">
              <a:extLst>
                <a:ext uri="{FF2B5EF4-FFF2-40B4-BE49-F238E27FC236}">
                  <a16:creationId xmlns:a16="http://schemas.microsoft.com/office/drawing/2014/main" id="{966B3529-B594-884C-BED0-5887B34BBBB8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125" name="矩形 13">
              <a:extLst>
                <a:ext uri="{FF2B5EF4-FFF2-40B4-BE49-F238E27FC236}">
                  <a16:creationId xmlns:a16="http://schemas.microsoft.com/office/drawing/2014/main" id="{0B0545C9-147F-584F-80D2-EF13876D7D33}"/>
                </a:ext>
              </a:extLst>
            </p:cNvPr>
            <p:cNvSpPr/>
            <p:nvPr userDrawn="1"/>
          </p:nvSpPr>
          <p:spPr>
            <a:xfrm>
              <a:off x="6450318" y="6324025"/>
              <a:ext cx="513579" cy="664397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126" name="矩形 13">
              <a:extLst>
                <a:ext uri="{FF2B5EF4-FFF2-40B4-BE49-F238E27FC236}">
                  <a16:creationId xmlns:a16="http://schemas.microsoft.com/office/drawing/2014/main" id="{44FD0A0B-0D45-3340-A523-465AC24134BF}"/>
                </a:ext>
              </a:extLst>
            </p:cNvPr>
            <p:cNvSpPr/>
            <p:nvPr userDrawn="1"/>
          </p:nvSpPr>
          <p:spPr>
            <a:xfrm>
              <a:off x="6998296" y="6324025"/>
              <a:ext cx="513579" cy="664397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127" name="矩形 13">
              <a:extLst>
                <a:ext uri="{FF2B5EF4-FFF2-40B4-BE49-F238E27FC236}">
                  <a16:creationId xmlns:a16="http://schemas.microsoft.com/office/drawing/2014/main" id="{2C404A07-276B-3648-BB25-4EDB5905448C}"/>
                </a:ext>
              </a:extLst>
            </p:cNvPr>
            <p:cNvSpPr/>
            <p:nvPr userDrawn="1"/>
          </p:nvSpPr>
          <p:spPr>
            <a:xfrm>
              <a:off x="7541580" y="6324025"/>
              <a:ext cx="513579" cy="664397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128" name="矩形 13">
              <a:extLst>
                <a:ext uri="{FF2B5EF4-FFF2-40B4-BE49-F238E27FC236}">
                  <a16:creationId xmlns:a16="http://schemas.microsoft.com/office/drawing/2014/main" id="{72B0F29C-A346-8946-9B8E-8F1B9DFF7AD0}"/>
                </a:ext>
              </a:extLst>
            </p:cNvPr>
            <p:cNvSpPr/>
            <p:nvPr userDrawn="1"/>
          </p:nvSpPr>
          <p:spPr>
            <a:xfrm>
              <a:off x="8083608" y="6324025"/>
              <a:ext cx="513579" cy="66439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</a:t>
              </a:r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5223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28" r:id="rId1"/>
    <p:sldLayoutId id="2147485329" r:id="rId2"/>
    <p:sldLayoutId id="2147485330" r:id="rId3"/>
    <p:sldLayoutId id="2147485331" r:id="rId4"/>
    <p:sldLayoutId id="2147485332" r:id="rId5"/>
    <p:sldLayoutId id="2147485333" r:id="rId6"/>
  </p:sldLayoutIdLst>
  <p:hf hdr="0" ftr="0" dt="0"/>
  <p:txStyles>
    <p:titleStyle>
      <a:lvl1pPr algn="l" defTabSz="1187264" rtl="0" eaLnBrk="1" latinLnBrk="0" hangingPunct="1">
        <a:lnSpc>
          <a:spcPct val="90000"/>
        </a:lnSpc>
        <a:spcBef>
          <a:spcPct val="0"/>
        </a:spcBef>
        <a:buNone/>
        <a:defRPr sz="571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16" indent="-296816" algn="l" defTabSz="1187264" rtl="0" eaLnBrk="1" latinLnBrk="0" hangingPunct="1">
        <a:lnSpc>
          <a:spcPct val="90000"/>
        </a:lnSpc>
        <a:spcBef>
          <a:spcPts val="1298"/>
        </a:spcBef>
        <a:buFont typeface="Arial" panose="020B0604020202020204" pitchFamily="34" charset="0"/>
        <a:buChar char="•"/>
        <a:defRPr sz="3635" kern="1200">
          <a:solidFill>
            <a:schemeClr val="tx1"/>
          </a:solidFill>
          <a:latin typeface="+mn-lt"/>
          <a:ea typeface="+mn-ea"/>
          <a:cs typeface="+mn-cs"/>
        </a:defRPr>
      </a:lvl1pPr>
      <a:lvl2pPr marL="890449" indent="-296816" algn="l" defTabSz="1187264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7" kern="1200">
          <a:solidFill>
            <a:schemeClr val="tx1"/>
          </a:solidFill>
          <a:latin typeface="+mn-lt"/>
          <a:ea typeface="+mn-ea"/>
          <a:cs typeface="+mn-cs"/>
        </a:defRPr>
      </a:lvl2pPr>
      <a:lvl3pPr marL="1484080" indent="-296816" algn="l" defTabSz="1187264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7" kern="1200">
          <a:solidFill>
            <a:schemeClr val="tx1"/>
          </a:solidFill>
          <a:latin typeface="+mn-lt"/>
          <a:ea typeface="+mn-ea"/>
          <a:cs typeface="+mn-cs"/>
        </a:defRPr>
      </a:lvl3pPr>
      <a:lvl4pPr marL="2077713" indent="-296816" algn="l" defTabSz="1187264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4pPr>
      <a:lvl5pPr marL="2671345" indent="-296816" algn="l" defTabSz="1187264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5pPr>
      <a:lvl6pPr marL="3264977" indent="-296816" algn="l" defTabSz="1187264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6pPr>
      <a:lvl7pPr marL="3858609" indent="-296816" algn="l" defTabSz="1187264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7pPr>
      <a:lvl8pPr marL="4452241" indent="-296816" algn="l" defTabSz="1187264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8pPr>
      <a:lvl9pPr marL="5045873" indent="-296816" algn="l" defTabSz="1187264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264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1pPr>
      <a:lvl2pPr marL="593633" algn="l" defTabSz="1187264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2pPr>
      <a:lvl3pPr marL="1187264" algn="l" defTabSz="1187264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3pPr>
      <a:lvl4pPr marL="1780897" algn="l" defTabSz="1187264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4pPr>
      <a:lvl5pPr marL="2374530" algn="l" defTabSz="1187264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5pPr>
      <a:lvl6pPr marL="2968161" algn="l" defTabSz="1187264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6pPr>
      <a:lvl7pPr marL="3561793" algn="l" defTabSz="1187264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7pPr>
      <a:lvl8pPr marL="4155426" algn="l" defTabSz="1187264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8pPr>
      <a:lvl9pPr marL="4749058" algn="l" defTabSz="1187264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322">
          <p15:clr>
            <a:srgbClr val="F26B43"/>
          </p15:clr>
        </p15:guide>
        <p15:guide id="2" pos="7683">
          <p15:clr>
            <a:srgbClr val="F26B43"/>
          </p15:clr>
        </p15:guide>
        <p15:guide id="3" pos="916">
          <p15:clr>
            <a:srgbClr val="F26B43"/>
          </p15:clr>
        </p15:guide>
        <p15:guide id="4" pos="14449">
          <p15:clr>
            <a:srgbClr val="F26B43"/>
          </p15:clr>
        </p15:guide>
        <p15:guide id="5" orient="horz" pos="820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468" y="6356940"/>
            <a:ext cx="146346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067"/>
            <a:r>
              <a:rPr lang="en-US" sz="9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132" y="6402809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449">
              <a:defRPr/>
            </a:pPr>
            <a:fld id="{C3837181-38C6-AD4F-B8BA-B444770388BB}" type="slidenum">
              <a:rPr lang="en-US" sz="90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90449">
                <a:defRPr/>
              </a:pPr>
              <a:t>‹#›</a:t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7333705-F8D6-2847-B3CB-F2FAB51E2A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290471" y="2625392"/>
            <a:ext cx="1963323" cy="4233515"/>
            <a:chOff x="5343885" y="-48857"/>
            <a:chExt cx="3263586" cy="7037279"/>
          </a:xfrm>
        </p:grpSpPr>
        <p:sp>
          <p:nvSpPr>
            <p:cNvPr id="89" name="矩形 13">
              <a:extLst>
                <a:ext uri="{FF2B5EF4-FFF2-40B4-BE49-F238E27FC236}">
                  <a16:creationId xmlns:a16="http://schemas.microsoft.com/office/drawing/2014/main" id="{B14DFA89-D483-CF47-82CC-DD86D7CAB09E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90" name="文本框 15">
              <a:extLst>
                <a:ext uri="{FF2B5EF4-FFF2-40B4-BE49-F238E27FC236}">
                  <a16:creationId xmlns:a16="http://schemas.microsoft.com/office/drawing/2014/main" id="{8223ADA0-340A-794B-93B7-24AFF612A719}"/>
                </a:ext>
              </a:extLst>
            </p:cNvPr>
            <p:cNvSpPr txBox="1"/>
            <p:nvPr userDrawn="1"/>
          </p:nvSpPr>
          <p:spPr>
            <a:xfrm>
              <a:off x="5352723" y="1694495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067"/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91" name="矩形 13">
              <a:extLst>
                <a:ext uri="{FF2B5EF4-FFF2-40B4-BE49-F238E27FC236}">
                  <a16:creationId xmlns:a16="http://schemas.microsoft.com/office/drawing/2014/main" id="{5F63E0E3-4F22-7948-AB1A-40A84ECA92EC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2" name="矩形 13">
              <a:extLst>
                <a:ext uri="{FF2B5EF4-FFF2-40B4-BE49-F238E27FC236}">
                  <a16:creationId xmlns:a16="http://schemas.microsoft.com/office/drawing/2014/main" id="{29C4A3C6-7C7B-7140-8F73-591E9F49143F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93" name="矩形 13">
              <a:extLst>
                <a:ext uri="{FF2B5EF4-FFF2-40B4-BE49-F238E27FC236}">
                  <a16:creationId xmlns:a16="http://schemas.microsoft.com/office/drawing/2014/main" id="{BE4C9A8D-46B0-5B40-BC47-DB6C4899227F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94" name="矩形 13">
              <a:extLst>
                <a:ext uri="{FF2B5EF4-FFF2-40B4-BE49-F238E27FC236}">
                  <a16:creationId xmlns:a16="http://schemas.microsoft.com/office/drawing/2014/main" id="{612F2ED4-F7A4-9E48-95E1-8D07B3BBE962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95" name="矩形 13">
              <a:extLst>
                <a:ext uri="{FF2B5EF4-FFF2-40B4-BE49-F238E27FC236}">
                  <a16:creationId xmlns:a16="http://schemas.microsoft.com/office/drawing/2014/main" id="{A9E1D476-C288-8945-A68A-1F20C557294B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42/137/68</a:t>
              </a:r>
              <a:endParaRPr kumimoji="1" lang="mr-IN" altLang="zh-CN" sz="5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6" name="矩形 13">
              <a:extLst>
                <a:ext uri="{FF2B5EF4-FFF2-40B4-BE49-F238E27FC236}">
                  <a16:creationId xmlns:a16="http://schemas.microsoft.com/office/drawing/2014/main" id="{42823EBB-E62E-F149-AC9A-09950051F283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5C</a:t>
              </a:r>
            </a:p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97" name="文本框 15">
              <a:extLst>
                <a:ext uri="{FF2B5EF4-FFF2-40B4-BE49-F238E27FC236}">
                  <a16:creationId xmlns:a16="http://schemas.microsoft.com/office/drawing/2014/main" id="{EA01C299-6FF2-3642-AAEC-A1DF62D9C654}"/>
                </a:ext>
              </a:extLst>
            </p:cNvPr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914067"/>
              <a:r>
                <a:rPr kumimoji="1" lang="zh-CN" altLang="en-US" sz="800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98" name="矩形 13">
              <a:extLst>
                <a:ext uri="{FF2B5EF4-FFF2-40B4-BE49-F238E27FC236}">
                  <a16:creationId xmlns:a16="http://schemas.microsoft.com/office/drawing/2014/main" id="{B84AB502-165F-764A-9621-65CA8CBBEAEA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6C</a:t>
              </a:r>
            </a:p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99" name="矩形 13">
              <a:extLst>
                <a:ext uri="{FF2B5EF4-FFF2-40B4-BE49-F238E27FC236}">
                  <a16:creationId xmlns:a16="http://schemas.microsoft.com/office/drawing/2014/main" id="{CB8870E8-3E95-764C-B621-A168E194CC7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00" name="矩形 13">
              <a:extLst>
                <a:ext uri="{FF2B5EF4-FFF2-40B4-BE49-F238E27FC236}">
                  <a16:creationId xmlns:a16="http://schemas.microsoft.com/office/drawing/2014/main" id="{356EF69A-1936-544F-A95F-0664F4E186D5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01" name="矩形 13">
              <a:extLst>
                <a:ext uri="{FF2B5EF4-FFF2-40B4-BE49-F238E27FC236}">
                  <a16:creationId xmlns:a16="http://schemas.microsoft.com/office/drawing/2014/main" id="{03EBAB43-95A5-1C4A-8458-B86EB3D51FCA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02" name="矩形 13">
              <a:extLst>
                <a:ext uri="{FF2B5EF4-FFF2-40B4-BE49-F238E27FC236}">
                  <a16:creationId xmlns:a16="http://schemas.microsoft.com/office/drawing/2014/main" id="{371A8520-F934-304C-B57F-B49F768694E2}"/>
                </a:ext>
              </a:extLst>
            </p:cNvPr>
            <p:cNvSpPr/>
            <p:nvPr userDrawn="1"/>
          </p:nvSpPr>
          <p:spPr>
            <a:xfrm>
              <a:off x="6194511" y="4866463"/>
              <a:ext cx="791510" cy="664397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103" name="矩形 13">
              <a:extLst>
                <a:ext uri="{FF2B5EF4-FFF2-40B4-BE49-F238E27FC236}">
                  <a16:creationId xmlns:a16="http://schemas.microsoft.com/office/drawing/2014/main" id="{B83004D7-279B-C14E-9FCF-870FA1B74FDF}"/>
                </a:ext>
              </a:extLst>
            </p:cNvPr>
            <p:cNvSpPr/>
            <p:nvPr userDrawn="1"/>
          </p:nvSpPr>
          <p:spPr>
            <a:xfrm>
              <a:off x="6192274" y="4134866"/>
              <a:ext cx="791510" cy="664397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104" name="矩形 13">
              <a:extLst>
                <a:ext uri="{FF2B5EF4-FFF2-40B4-BE49-F238E27FC236}">
                  <a16:creationId xmlns:a16="http://schemas.microsoft.com/office/drawing/2014/main" id="{99635968-4E69-CC41-9D78-6DF253FE3035}"/>
                </a:ext>
              </a:extLst>
            </p:cNvPr>
            <p:cNvSpPr/>
            <p:nvPr userDrawn="1"/>
          </p:nvSpPr>
          <p:spPr>
            <a:xfrm>
              <a:off x="6192274" y="5596166"/>
              <a:ext cx="791510" cy="664397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105" name="矩形 13">
              <a:extLst>
                <a:ext uri="{FF2B5EF4-FFF2-40B4-BE49-F238E27FC236}">
                  <a16:creationId xmlns:a16="http://schemas.microsoft.com/office/drawing/2014/main" id="{BDBE4949-07B7-F046-AD95-68E4B0C11CCD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106" name="矩形 13">
              <a:extLst>
                <a:ext uri="{FF2B5EF4-FFF2-40B4-BE49-F238E27FC236}">
                  <a16:creationId xmlns:a16="http://schemas.microsoft.com/office/drawing/2014/main" id="{AA9F9E00-6A31-F14B-A2E4-79908835FD1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107" name="矩形 13">
              <a:extLst>
                <a:ext uri="{FF2B5EF4-FFF2-40B4-BE49-F238E27FC236}">
                  <a16:creationId xmlns:a16="http://schemas.microsoft.com/office/drawing/2014/main" id="{38715A31-485E-B744-B409-43F9F04B48F7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108" name="矩形 13">
              <a:extLst>
                <a:ext uri="{FF2B5EF4-FFF2-40B4-BE49-F238E27FC236}">
                  <a16:creationId xmlns:a16="http://schemas.microsoft.com/office/drawing/2014/main" id="{4AE1609B-25DD-2C4A-B05B-D18ADBC39C71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109" name="矩形 13">
              <a:extLst>
                <a:ext uri="{FF2B5EF4-FFF2-40B4-BE49-F238E27FC236}">
                  <a16:creationId xmlns:a16="http://schemas.microsoft.com/office/drawing/2014/main" id="{ECE90F9F-DBBC-0B49-A42C-8B62397E473E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46/183/140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0" name="矩形 13">
              <a:extLst>
                <a:ext uri="{FF2B5EF4-FFF2-40B4-BE49-F238E27FC236}">
                  <a16:creationId xmlns:a16="http://schemas.microsoft.com/office/drawing/2014/main" id="{D5B387BA-F8B8-B54E-966E-F24E271747C4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111" name="矩形 13">
              <a:extLst>
                <a:ext uri="{FF2B5EF4-FFF2-40B4-BE49-F238E27FC236}">
                  <a16:creationId xmlns:a16="http://schemas.microsoft.com/office/drawing/2014/main" id="{E6C9B99E-8C1C-2B49-B82E-3C754B8E5C02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112" name="矩形 13">
              <a:extLst>
                <a:ext uri="{FF2B5EF4-FFF2-40B4-BE49-F238E27FC236}">
                  <a16:creationId xmlns:a16="http://schemas.microsoft.com/office/drawing/2014/main" id="{0106BFA2-9DE1-3A42-A6C6-69BCE0FA34F4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113" name="矩形 13">
              <a:extLst>
                <a:ext uri="{FF2B5EF4-FFF2-40B4-BE49-F238E27FC236}">
                  <a16:creationId xmlns:a16="http://schemas.microsoft.com/office/drawing/2014/main" id="{F760C1C5-4342-C346-A7D2-D101978EDF66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114" name="矩形 13">
              <a:extLst>
                <a:ext uri="{FF2B5EF4-FFF2-40B4-BE49-F238E27FC236}">
                  <a16:creationId xmlns:a16="http://schemas.microsoft.com/office/drawing/2014/main" id="{5BB50A4A-0B64-7E4C-824C-1EBCA1A992CF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115" name="矩形 13">
              <a:extLst>
                <a:ext uri="{FF2B5EF4-FFF2-40B4-BE49-F238E27FC236}">
                  <a16:creationId xmlns:a16="http://schemas.microsoft.com/office/drawing/2014/main" id="{756A7E25-6C44-8A44-A8C5-61D19BC9EDAF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116" name="矩形 13">
              <a:extLst>
                <a:ext uri="{FF2B5EF4-FFF2-40B4-BE49-F238E27FC236}">
                  <a16:creationId xmlns:a16="http://schemas.microsoft.com/office/drawing/2014/main" id="{96588389-39CD-DF4E-B9AC-92091E25724E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117" name="矩形 13">
              <a:extLst>
                <a:ext uri="{FF2B5EF4-FFF2-40B4-BE49-F238E27FC236}">
                  <a16:creationId xmlns:a16="http://schemas.microsoft.com/office/drawing/2014/main" id="{20725C9F-31AE-DB44-B70A-B4ECDEC0BC00}"/>
                </a:ext>
              </a:extLst>
            </p:cNvPr>
            <p:cNvSpPr/>
            <p:nvPr/>
          </p:nvSpPr>
          <p:spPr>
            <a:xfrm>
              <a:off x="7806130" y="3415851"/>
              <a:ext cx="791510" cy="664397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0/211/187</a:t>
              </a:r>
              <a:endParaRPr kumimoji="1" lang="mr-IN" altLang="zh-CN" sz="500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8" name="矩形 13">
              <a:extLst>
                <a:ext uri="{FF2B5EF4-FFF2-40B4-BE49-F238E27FC236}">
                  <a16:creationId xmlns:a16="http://schemas.microsoft.com/office/drawing/2014/main" id="{AC5BCC27-B68D-0743-8E0B-E25F8D01C3A4}"/>
                </a:ext>
              </a:extLst>
            </p:cNvPr>
            <p:cNvSpPr/>
            <p:nvPr/>
          </p:nvSpPr>
          <p:spPr>
            <a:xfrm>
              <a:off x="7815961" y="4866463"/>
              <a:ext cx="791510" cy="664397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119" name="矩形 13">
              <a:extLst>
                <a:ext uri="{FF2B5EF4-FFF2-40B4-BE49-F238E27FC236}">
                  <a16:creationId xmlns:a16="http://schemas.microsoft.com/office/drawing/2014/main" id="{51C2E83A-C975-6945-B2FD-5B22BBB53DB7}"/>
                </a:ext>
              </a:extLst>
            </p:cNvPr>
            <p:cNvSpPr/>
            <p:nvPr/>
          </p:nvSpPr>
          <p:spPr>
            <a:xfrm>
              <a:off x="7813724" y="4134866"/>
              <a:ext cx="791510" cy="664397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120" name="矩形 13">
              <a:extLst>
                <a:ext uri="{FF2B5EF4-FFF2-40B4-BE49-F238E27FC236}">
                  <a16:creationId xmlns:a16="http://schemas.microsoft.com/office/drawing/2014/main" id="{BEE9A95F-6965-354F-A2C7-2E8C81DDA52F}"/>
                </a:ext>
              </a:extLst>
            </p:cNvPr>
            <p:cNvSpPr/>
            <p:nvPr/>
          </p:nvSpPr>
          <p:spPr>
            <a:xfrm>
              <a:off x="7813724" y="5596166"/>
              <a:ext cx="791510" cy="664397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190/23/238</a:t>
              </a:r>
            </a:p>
          </p:txBody>
        </p:sp>
        <p:sp>
          <p:nvSpPr>
            <p:cNvPr id="121" name="矩形 13">
              <a:extLst>
                <a:ext uri="{FF2B5EF4-FFF2-40B4-BE49-F238E27FC236}">
                  <a16:creationId xmlns:a16="http://schemas.microsoft.com/office/drawing/2014/main" id="{509164EB-3DC4-7A4F-9E7C-06EBC981CD0A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122" name="矩形 13">
              <a:extLst>
                <a:ext uri="{FF2B5EF4-FFF2-40B4-BE49-F238E27FC236}">
                  <a16:creationId xmlns:a16="http://schemas.microsoft.com/office/drawing/2014/main" id="{667867DD-D3E6-3040-A7B5-39345C0CE2E3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123" name="矩形 13">
              <a:extLst>
                <a:ext uri="{FF2B5EF4-FFF2-40B4-BE49-F238E27FC236}">
                  <a16:creationId xmlns:a16="http://schemas.microsoft.com/office/drawing/2014/main" id="{9EE10597-3782-AB46-8453-89FA049C6C46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35/24/21</a:t>
              </a:r>
            </a:p>
          </p:txBody>
        </p:sp>
        <p:sp>
          <p:nvSpPr>
            <p:cNvPr id="124" name="矩形 13">
              <a:extLst>
                <a:ext uri="{FF2B5EF4-FFF2-40B4-BE49-F238E27FC236}">
                  <a16:creationId xmlns:a16="http://schemas.microsoft.com/office/drawing/2014/main" id="{966B3529-B594-884C-BED0-5887B34BBBB8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125" name="矩形 13">
              <a:extLst>
                <a:ext uri="{FF2B5EF4-FFF2-40B4-BE49-F238E27FC236}">
                  <a16:creationId xmlns:a16="http://schemas.microsoft.com/office/drawing/2014/main" id="{0B0545C9-147F-584F-80D2-EF13876D7D33}"/>
                </a:ext>
              </a:extLst>
            </p:cNvPr>
            <p:cNvSpPr/>
            <p:nvPr userDrawn="1"/>
          </p:nvSpPr>
          <p:spPr>
            <a:xfrm>
              <a:off x="6450318" y="6324025"/>
              <a:ext cx="513579" cy="664397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126" name="矩形 13">
              <a:extLst>
                <a:ext uri="{FF2B5EF4-FFF2-40B4-BE49-F238E27FC236}">
                  <a16:creationId xmlns:a16="http://schemas.microsoft.com/office/drawing/2014/main" id="{44FD0A0B-0D45-3340-A523-465AC24134BF}"/>
                </a:ext>
              </a:extLst>
            </p:cNvPr>
            <p:cNvSpPr/>
            <p:nvPr userDrawn="1"/>
          </p:nvSpPr>
          <p:spPr>
            <a:xfrm>
              <a:off x="6998296" y="6324025"/>
              <a:ext cx="513579" cy="664397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127" name="矩形 13">
              <a:extLst>
                <a:ext uri="{FF2B5EF4-FFF2-40B4-BE49-F238E27FC236}">
                  <a16:creationId xmlns:a16="http://schemas.microsoft.com/office/drawing/2014/main" id="{2C404A07-276B-3648-BB25-4EDB5905448C}"/>
                </a:ext>
              </a:extLst>
            </p:cNvPr>
            <p:cNvSpPr/>
            <p:nvPr userDrawn="1"/>
          </p:nvSpPr>
          <p:spPr>
            <a:xfrm>
              <a:off x="7541580" y="6324025"/>
              <a:ext cx="513579" cy="664397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128" name="矩形 13">
              <a:extLst>
                <a:ext uri="{FF2B5EF4-FFF2-40B4-BE49-F238E27FC236}">
                  <a16:creationId xmlns:a16="http://schemas.microsoft.com/office/drawing/2014/main" id="{72B0F29C-A346-8946-9B8E-8F1B9DFF7AD0}"/>
                </a:ext>
              </a:extLst>
            </p:cNvPr>
            <p:cNvSpPr/>
            <p:nvPr userDrawn="1"/>
          </p:nvSpPr>
          <p:spPr>
            <a:xfrm>
              <a:off x="8083608" y="6324025"/>
              <a:ext cx="513579" cy="66439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914067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</a:t>
              </a:r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0387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36" r:id="rId1"/>
    <p:sldLayoutId id="2147485337" r:id="rId2"/>
    <p:sldLayoutId id="2147485338" r:id="rId3"/>
    <p:sldLayoutId id="2147485339" r:id="rId4"/>
    <p:sldLayoutId id="2147485340" r:id="rId5"/>
    <p:sldLayoutId id="2147485341" r:id="rId6"/>
  </p:sldLayoutIdLst>
  <p:hf hdr="0" ftr="0" dt="0"/>
  <p:txStyles>
    <p:titleStyle>
      <a:lvl1pPr algn="l" defTabSz="1187264" rtl="0" eaLnBrk="1" latinLnBrk="0" hangingPunct="1">
        <a:lnSpc>
          <a:spcPct val="90000"/>
        </a:lnSpc>
        <a:spcBef>
          <a:spcPct val="0"/>
        </a:spcBef>
        <a:buNone/>
        <a:defRPr sz="571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816" indent="-296816" algn="l" defTabSz="1187264" rtl="0" eaLnBrk="1" latinLnBrk="0" hangingPunct="1">
        <a:lnSpc>
          <a:spcPct val="90000"/>
        </a:lnSpc>
        <a:spcBef>
          <a:spcPts val="1298"/>
        </a:spcBef>
        <a:buFont typeface="Arial" panose="020B0604020202020204" pitchFamily="34" charset="0"/>
        <a:buChar char="•"/>
        <a:defRPr sz="3635" kern="1200">
          <a:solidFill>
            <a:schemeClr val="tx1"/>
          </a:solidFill>
          <a:latin typeface="+mn-lt"/>
          <a:ea typeface="+mn-ea"/>
          <a:cs typeface="+mn-cs"/>
        </a:defRPr>
      </a:lvl1pPr>
      <a:lvl2pPr marL="890449" indent="-296816" algn="l" defTabSz="1187264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7" kern="1200">
          <a:solidFill>
            <a:schemeClr val="tx1"/>
          </a:solidFill>
          <a:latin typeface="+mn-lt"/>
          <a:ea typeface="+mn-ea"/>
          <a:cs typeface="+mn-cs"/>
        </a:defRPr>
      </a:lvl2pPr>
      <a:lvl3pPr marL="1484080" indent="-296816" algn="l" defTabSz="1187264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7" kern="1200">
          <a:solidFill>
            <a:schemeClr val="tx1"/>
          </a:solidFill>
          <a:latin typeface="+mn-lt"/>
          <a:ea typeface="+mn-ea"/>
          <a:cs typeface="+mn-cs"/>
        </a:defRPr>
      </a:lvl3pPr>
      <a:lvl4pPr marL="2077713" indent="-296816" algn="l" defTabSz="1187264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4pPr>
      <a:lvl5pPr marL="2671345" indent="-296816" algn="l" defTabSz="1187264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5pPr>
      <a:lvl6pPr marL="3264977" indent="-296816" algn="l" defTabSz="1187264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6pPr>
      <a:lvl7pPr marL="3858609" indent="-296816" algn="l" defTabSz="1187264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7pPr>
      <a:lvl8pPr marL="4452241" indent="-296816" algn="l" defTabSz="1187264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8pPr>
      <a:lvl9pPr marL="5045873" indent="-296816" algn="l" defTabSz="1187264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264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1pPr>
      <a:lvl2pPr marL="593633" algn="l" defTabSz="1187264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2pPr>
      <a:lvl3pPr marL="1187264" algn="l" defTabSz="1187264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3pPr>
      <a:lvl4pPr marL="1780897" algn="l" defTabSz="1187264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4pPr>
      <a:lvl5pPr marL="2374530" algn="l" defTabSz="1187264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5pPr>
      <a:lvl6pPr marL="2968161" algn="l" defTabSz="1187264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6pPr>
      <a:lvl7pPr marL="3561793" algn="l" defTabSz="1187264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7pPr>
      <a:lvl8pPr marL="4155426" algn="l" defTabSz="1187264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8pPr>
      <a:lvl9pPr marL="4749058" algn="l" defTabSz="1187264" rtl="0" eaLnBrk="1" latinLnBrk="0" hangingPunct="1">
        <a:defRPr sz="23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322">
          <p15:clr>
            <a:srgbClr val="F26B43"/>
          </p15:clr>
        </p15:guide>
        <p15:guide id="2" pos="7683">
          <p15:clr>
            <a:srgbClr val="F26B43"/>
          </p15:clr>
        </p15:guide>
        <p15:guide id="3" pos="916">
          <p15:clr>
            <a:srgbClr val="F26B43"/>
          </p15:clr>
        </p15:guide>
        <p15:guide id="4" pos="14449">
          <p15:clr>
            <a:srgbClr val="F26B43"/>
          </p15:clr>
        </p15:guide>
        <p15:guide id="5" orient="horz" pos="820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0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8.png"/><Relationship Id="rId5" Type="http://schemas.openxmlformats.org/officeDocument/2006/relationships/image" Target="../media/image37.jpeg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1.png"/><Relationship Id="rId4" Type="http://schemas.openxmlformats.org/officeDocument/2006/relationships/image" Target="../media/image40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4" Type="http://schemas.microsoft.com/office/2007/relationships/hdphoto" Target="../media/hdphoto2.wdp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6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8.png"/><Relationship Id="rId4" Type="http://schemas.openxmlformats.org/officeDocument/2006/relationships/image" Target="../media/image17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13" Type="http://schemas.openxmlformats.org/officeDocument/2006/relationships/image" Target="../media/image29.png"/><Relationship Id="rId3" Type="http://schemas.openxmlformats.org/officeDocument/2006/relationships/image" Target="../media/image19.png"/><Relationship Id="rId7" Type="http://schemas.openxmlformats.org/officeDocument/2006/relationships/image" Target="../media/image23.jpeg"/><Relationship Id="rId12" Type="http://schemas.openxmlformats.org/officeDocument/2006/relationships/image" Target="../media/image2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2.jpeg"/><Relationship Id="rId11" Type="http://schemas.openxmlformats.org/officeDocument/2006/relationships/image" Target="../media/image27.png"/><Relationship Id="rId5" Type="http://schemas.openxmlformats.org/officeDocument/2006/relationships/image" Target="../media/image21.jpeg"/><Relationship Id="rId10" Type="http://schemas.openxmlformats.org/officeDocument/2006/relationships/image" Target="../media/image26.jpeg"/><Relationship Id="rId4" Type="http://schemas.openxmlformats.org/officeDocument/2006/relationships/image" Target="../media/image20.png"/><Relationship Id="rId9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4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标题 7"/>
          <p:cNvSpPr>
            <a:spLocks noGrp="1"/>
          </p:cNvSpPr>
          <p:nvPr>
            <p:ph type="ctrTitle"/>
          </p:nvPr>
        </p:nvSpPr>
        <p:spPr>
          <a:xfrm>
            <a:off x="1418380" y="1763619"/>
            <a:ext cx="6304222" cy="436017"/>
          </a:xfrm>
        </p:spPr>
        <p:txBody>
          <a:bodyPr wrap="square" lIns="0" tIns="0" rIns="0" bIns="0">
            <a:spAutoFit/>
          </a:bodyPr>
          <a:lstStyle/>
          <a:p>
            <a:r>
              <a:rPr lang="zh-CN" altLang="en-US" b="1"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华为整体介绍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8409959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矩形 90"/>
          <p:cNvSpPr/>
          <p:nvPr/>
        </p:nvSpPr>
        <p:spPr>
          <a:xfrm>
            <a:off x="740835" y="1384991"/>
            <a:ext cx="10715093" cy="2439125"/>
          </a:xfrm>
          <a:prstGeom prst="rect">
            <a:avLst/>
          </a:prstGeom>
          <a:gradFill>
            <a:gsLst>
              <a:gs pos="100000">
                <a:schemeClr val="bg1">
                  <a:lumMod val="60000"/>
                  <a:lumOff val="40000"/>
                  <a:alpha val="0"/>
                </a:schemeClr>
              </a:gs>
              <a:gs pos="33000">
                <a:schemeClr val="bg1">
                  <a:lumMod val="60000"/>
                  <a:lumOff val="40000"/>
                  <a:alpha val="15000"/>
                </a:schemeClr>
              </a:gs>
            </a:gsLst>
            <a:lin ang="5400000" scaled="0"/>
          </a:gradFill>
          <a:ln w="6350">
            <a:gradFill>
              <a:gsLst>
                <a:gs pos="0">
                  <a:schemeClr val="bg1">
                    <a:lumMod val="40000"/>
                    <a:lumOff val="60000"/>
                  </a:schemeClr>
                </a:gs>
                <a:gs pos="100000">
                  <a:schemeClr val="bg1">
                    <a:lumMod val="40000"/>
                    <a:lumOff val="60000"/>
                    <a:alpha val="0"/>
                  </a:schemeClr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defTabSz="914477">
              <a:lnSpc>
                <a:spcPct val="120000"/>
              </a:lnSpc>
            </a:pPr>
            <a:endParaRPr kumimoji="1" lang="zh-CN" altLang="en-US" sz="1200">
              <a:solidFill>
                <a:srgbClr val="FFFFFF"/>
              </a:solidFill>
              <a:latin typeface="微软雅黑" panose="020B0503020204020204" pitchFamily="34" charset="-122"/>
            </a:endParaRPr>
          </a:p>
        </p:txBody>
      </p:sp>
      <p:sp>
        <p:nvSpPr>
          <p:cNvPr id="126" name="Rectangle: Rounded Corners 5"/>
          <p:cNvSpPr/>
          <p:nvPr/>
        </p:nvSpPr>
        <p:spPr>
          <a:xfrm>
            <a:off x="6299471" y="1781235"/>
            <a:ext cx="4839624" cy="940905"/>
          </a:xfrm>
          <a:prstGeom prst="roundRect">
            <a:avLst>
              <a:gd name="adj" fmla="val 1612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317500" dist="190500" dir="5400000" sx="90000" sy="90000" algn="t" rotWithShape="0">
              <a:sysClr val="window" lastClr="FFFFFF">
                <a:lumMod val="50000"/>
                <a:alpha val="40000"/>
              </a:sysClr>
            </a:outerShdw>
          </a:effectLst>
        </p:spPr>
        <p:txBody>
          <a:bodyPr rtlCol="0" anchor="ctr"/>
          <a:lstStyle/>
          <a:p>
            <a:pPr algn="ctr" defTabSz="214500">
              <a:defRPr/>
            </a:pPr>
            <a:endParaRPr lang="id-ID" sz="400" kern="0">
              <a:solidFill>
                <a:prstClr val="white"/>
              </a:solidFill>
            </a:endParaRPr>
          </a:p>
        </p:txBody>
      </p:sp>
      <p:sp>
        <p:nvSpPr>
          <p:cNvPr id="34" name="矩形 33"/>
          <p:cNvSpPr/>
          <p:nvPr/>
        </p:nvSpPr>
        <p:spPr>
          <a:xfrm>
            <a:off x="4269847" y="4350980"/>
            <a:ext cx="365706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altLang="zh-CN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截止2021</a:t>
            </a:r>
            <a:r>
              <a:rPr lang="zh-CN" altLang="en-US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年底，华为数字能源助力客户实现</a:t>
            </a:r>
            <a:endParaRPr lang="zh-CN" altLang="en-US" sz="1400" dirty="0">
              <a:solidFill>
                <a:srgbClr val="1D1D1A"/>
              </a:solidFill>
            </a:endParaRPr>
          </a:p>
        </p:txBody>
      </p:sp>
      <p:sp>
        <p:nvSpPr>
          <p:cNvPr id="36" name="文本框 35"/>
          <p:cNvSpPr txBox="1"/>
          <p:nvPr/>
        </p:nvSpPr>
        <p:spPr>
          <a:xfrm>
            <a:off x="1843553" y="4936047"/>
            <a:ext cx="1258976" cy="215444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610749">
              <a:defRPr/>
            </a:pPr>
            <a:r>
              <a:rPr lang="zh-CN" altLang="en-US" sz="1400" kern="0" dirty="0">
                <a:solidFill>
                  <a:srgbClr val="1D1D1A"/>
                </a:solidFill>
                <a:cs typeface="Arial" panose="020B0604020202020204" pitchFamily="34" charset="0"/>
                <a:sym typeface="Huawei Sans" panose="020C0503030203020204" pitchFamily="34" charset="0"/>
              </a:rPr>
              <a:t>累计绿色发电</a:t>
            </a:r>
            <a:endParaRPr lang="en-US" altLang="zh-CN" sz="1400" kern="0" dirty="0">
              <a:solidFill>
                <a:srgbClr val="1D1D1A"/>
              </a:solidFill>
              <a:cs typeface="Arial" panose="020B0604020202020204" pitchFamily="34" charset="0"/>
              <a:sym typeface="Huawei Sans" panose="020C0503030203020204" pitchFamily="34" charset="0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1791284" y="5272975"/>
            <a:ext cx="1614842" cy="492443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0" tIns="0" rIns="0" bIns="0" anchor="ctr" anchorCtr="1">
            <a:spAutoFit/>
          </a:bodyPr>
          <a:lstStyle/>
          <a:p>
            <a:pPr defTabSz="914034"/>
            <a:r>
              <a:rPr lang="en-US" altLang="zh-CN" sz="3200" kern="0" dirty="0">
                <a:solidFill>
                  <a:srgbClr val="C7000B"/>
                </a:solidFill>
                <a:latin typeface="微软雅黑" panose="020B0503020204020204" pitchFamily="34" charset="-122"/>
                <a:sym typeface="Huawei Sans" panose="020C0503030203020204" pitchFamily="34" charset="0"/>
              </a:rPr>
              <a:t>4829</a:t>
            </a:r>
            <a:r>
              <a:rPr lang="en-US" altLang="zh-CN" sz="1600" kern="0" dirty="0">
                <a:solidFill>
                  <a:srgbClr val="C7000B"/>
                </a:solidFill>
                <a:latin typeface="微软雅黑" panose="020B0503020204020204" pitchFamily="34" charset="-122"/>
                <a:sym typeface="Huawei Sans" panose="020C0503030203020204" pitchFamily="34" charset="0"/>
              </a:rPr>
              <a:t> </a:t>
            </a:r>
            <a:r>
              <a:rPr lang="zh-CN" altLang="en-US" sz="1600" kern="0" dirty="0">
                <a:solidFill>
                  <a:srgbClr val="1D1D1A"/>
                </a:solidFill>
                <a:latin typeface="微软雅黑" panose="020B0503020204020204" pitchFamily="34" charset="-122"/>
                <a:sym typeface="Huawei Sans" panose="020C0503030203020204" pitchFamily="34" charset="0"/>
              </a:rPr>
              <a:t>亿度</a:t>
            </a:r>
          </a:p>
        </p:txBody>
      </p:sp>
      <p:sp>
        <p:nvSpPr>
          <p:cNvPr id="38" name="文本框 37"/>
          <p:cNvSpPr txBox="1"/>
          <p:nvPr/>
        </p:nvSpPr>
        <p:spPr>
          <a:xfrm>
            <a:off x="7523810" y="4936047"/>
            <a:ext cx="1438512" cy="215444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610749">
              <a:defRPr/>
            </a:pPr>
            <a:r>
              <a:rPr lang="zh-CN" altLang="en-US" sz="1400" kern="0" dirty="0">
                <a:solidFill>
                  <a:srgbClr val="1D1D1A"/>
                </a:solidFill>
                <a:cs typeface="Arial" panose="020B0604020202020204" pitchFamily="34" charset="0"/>
                <a:sym typeface="Huawei Sans" panose="020C0503030203020204" pitchFamily="34" charset="0"/>
              </a:rPr>
              <a:t>累计减少碳排放</a:t>
            </a:r>
            <a:endParaRPr lang="en-US" altLang="zh-CN" sz="1200" kern="0" baseline="30000" dirty="0">
              <a:solidFill>
                <a:srgbClr val="1D1D1A"/>
              </a:solidFill>
              <a:cs typeface="Arial" panose="020B0604020202020204" pitchFamily="34" charset="0"/>
              <a:sym typeface="Huawei Sans" panose="020C0503030203020204" pitchFamily="34" charset="0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7425786" y="5272975"/>
            <a:ext cx="1233328" cy="492443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0" tIns="0" rIns="0" bIns="0" anchor="ctr" anchorCtr="1">
            <a:spAutoFit/>
          </a:bodyPr>
          <a:lstStyle/>
          <a:p>
            <a:pPr defTabSz="914034"/>
            <a:r>
              <a:rPr lang="en-US" altLang="zh-CN" sz="3200" kern="0" dirty="0">
                <a:solidFill>
                  <a:srgbClr val="C7000B"/>
                </a:solidFill>
                <a:latin typeface="微软雅黑" panose="020B0503020204020204" pitchFamily="34" charset="-122"/>
                <a:sym typeface="Huawei Sans" panose="020C0503030203020204" pitchFamily="34" charset="0"/>
              </a:rPr>
              <a:t>2.3</a:t>
            </a:r>
            <a:r>
              <a:rPr lang="en-US" altLang="zh-CN" sz="1600" kern="0" dirty="0">
                <a:solidFill>
                  <a:srgbClr val="1D1D1A"/>
                </a:solidFill>
                <a:latin typeface="微软雅黑" panose="020B0503020204020204" pitchFamily="34" charset="-122"/>
                <a:sym typeface="Huawei Sans" panose="020C0503030203020204" pitchFamily="34" charset="0"/>
              </a:rPr>
              <a:t> </a:t>
            </a:r>
            <a:r>
              <a:rPr lang="zh-CN" altLang="en-US" sz="1600" kern="0" dirty="0">
                <a:solidFill>
                  <a:srgbClr val="1D1D1A"/>
                </a:solidFill>
                <a:latin typeface="微软雅黑" panose="020B0503020204020204" pitchFamily="34" charset="-122"/>
                <a:sym typeface="Huawei Sans" panose="020C0503030203020204" pitchFamily="34" charset="0"/>
              </a:rPr>
              <a:t>亿吨</a:t>
            </a:r>
          </a:p>
        </p:txBody>
      </p:sp>
      <p:sp>
        <p:nvSpPr>
          <p:cNvPr id="40" name="文本框 39"/>
          <p:cNvSpPr txBox="1"/>
          <p:nvPr/>
        </p:nvSpPr>
        <p:spPr>
          <a:xfrm>
            <a:off x="10385793" y="4936047"/>
            <a:ext cx="1079439" cy="215444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610749">
              <a:defRPr/>
            </a:pPr>
            <a:r>
              <a:rPr lang="zh-CN" altLang="en-US" sz="1400" kern="0" dirty="0">
                <a:solidFill>
                  <a:srgbClr val="1D1D1A"/>
                </a:solidFill>
                <a:cs typeface="Arial" panose="020B0604020202020204" pitchFamily="34" charset="0"/>
                <a:sym typeface="Huawei Sans" panose="020C0503030203020204" pitchFamily="34" charset="0"/>
              </a:rPr>
              <a:t>相当于植树</a:t>
            </a:r>
            <a:endParaRPr lang="en-US" altLang="zh-CN" sz="1200" kern="0" baseline="30000" dirty="0">
              <a:solidFill>
                <a:srgbClr val="1D1D1A"/>
              </a:solidFill>
              <a:cs typeface="Arial" panose="020B0604020202020204" pitchFamily="34" charset="0"/>
              <a:sym typeface="Huawei Sans" panose="020C0503030203020204" pitchFamily="34" charset="0"/>
            </a:endParaRPr>
          </a:p>
        </p:txBody>
      </p:sp>
      <p:sp>
        <p:nvSpPr>
          <p:cNvPr id="41" name="16 x 16 x N scalable cubes…"/>
          <p:cNvSpPr txBox="1"/>
          <p:nvPr/>
        </p:nvSpPr>
        <p:spPr>
          <a:xfrm>
            <a:off x="10287453" y="5272975"/>
            <a:ext cx="1233328" cy="492443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 anchorCtr="1">
            <a:spAutoFit/>
          </a:bodyPr>
          <a:lstStyle>
            <a:defPPr>
              <a:defRPr lang="zh-CN"/>
            </a:defPPr>
            <a:lvl1pPr algn="ctr" defTabSz="914034">
              <a:defRPr kern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l"/>
            <a:r>
              <a:rPr lang="en-US" altLang="zh-CN" sz="3200" dirty="0">
                <a:solidFill>
                  <a:srgbClr val="C7000B"/>
                </a:solidFill>
                <a:sym typeface="Huawei Sans" panose="020C0503030203020204" pitchFamily="34" charset="0"/>
              </a:rPr>
              <a:t>3.2</a:t>
            </a:r>
            <a:r>
              <a:rPr lang="en-US" altLang="zh-CN" sz="1600" dirty="0">
                <a:solidFill>
                  <a:srgbClr val="1D1D1A"/>
                </a:solidFill>
                <a:sym typeface="Huawei Sans" panose="020C0503030203020204" pitchFamily="34" charset="0"/>
              </a:rPr>
              <a:t> </a:t>
            </a:r>
            <a:r>
              <a:rPr lang="zh-CN" altLang="en-US" sz="1600" dirty="0">
                <a:solidFill>
                  <a:srgbClr val="1D1D1A"/>
                </a:solidFill>
                <a:sym typeface="Huawei Sans" panose="020C0503030203020204" pitchFamily="34" charset="0"/>
              </a:rPr>
              <a:t>亿棵</a:t>
            </a:r>
          </a:p>
        </p:txBody>
      </p:sp>
      <p:sp>
        <p:nvSpPr>
          <p:cNvPr id="42" name="文本框 41"/>
          <p:cNvSpPr txBox="1"/>
          <p:nvPr/>
        </p:nvSpPr>
        <p:spPr>
          <a:xfrm>
            <a:off x="4845367" y="4936047"/>
            <a:ext cx="899903" cy="215444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610749">
              <a:defRPr/>
            </a:pPr>
            <a:r>
              <a:rPr lang="zh-CN" altLang="en-US" sz="1400" kern="0" dirty="0">
                <a:solidFill>
                  <a:srgbClr val="1D1D1A"/>
                </a:solidFill>
                <a:cs typeface="Arial" panose="020B0604020202020204" pitchFamily="34" charset="0"/>
                <a:sym typeface="Huawei Sans" panose="020C0503030203020204" pitchFamily="34" charset="0"/>
              </a:rPr>
              <a:t>累计节电</a:t>
            </a:r>
            <a:endParaRPr lang="en-US" altLang="zh-CN" sz="1400" kern="0" dirty="0">
              <a:solidFill>
                <a:srgbClr val="1D1D1A"/>
              </a:solidFill>
              <a:cs typeface="Arial" panose="020B0604020202020204" pitchFamily="34" charset="0"/>
              <a:sym typeface="Huawei Sans" panose="020C0503030203020204" pitchFamily="34" charset="0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4748901" y="5272975"/>
            <a:ext cx="1374392" cy="492443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0" tIns="0" rIns="0" bIns="0" anchor="ctr" anchorCtr="1">
            <a:spAutoFit/>
          </a:bodyPr>
          <a:lstStyle/>
          <a:p>
            <a:pPr defTabSz="914034"/>
            <a:r>
              <a:rPr lang="en-US" altLang="zh-CN" sz="3200" kern="0" dirty="0">
                <a:solidFill>
                  <a:srgbClr val="C7000B"/>
                </a:solidFill>
                <a:latin typeface="微软雅黑" panose="020B0503020204020204" pitchFamily="34" charset="-122"/>
                <a:sym typeface="Huawei Sans" panose="020C0503030203020204" pitchFamily="34" charset="0"/>
              </a:rPr>
              <a:t>142</a:t>
            </a:r>
            <a:r>
              <a:rPr lang="en-US" altLang="zh-CN" sz="1600" kern="0" dirty="0">
                <a:solidFill>
                  <a:srgbClr val="1D1D1A"/>
                </a:solidFill>
                <a:latin typeface="微软雅黑" panose="020B0503020204020204" pitchFamily="34" charset="-122"/>
                <a:sym typeface="Huawei Sans" panose="020C0503030203020204" pitchFamily="34" charset="0"/>
              </a:rPr>
              <a:t> </a:t>
            </a:r>
            <a:r>
              <a:rPr lang="zh-CN" altLang="en-US" sz="1600" kern="0" dirty="0">
                <a:solidFill>
                  <a:srgbClr val="1D1D1A"/>
                </a:solidFill>
                <a:latin typeface="微软雅黑" panose="020B0503020204020204" pitchFamily="34" charset="-122"/>
                <a:sym typeface="Huawei Sans" panose="020C0503030203020204" pitchFamily="34" charset="0"/>
              </a:rPr>
              <a:t>亿度</a:t>
            </a:r>
          </a:p>
        </p:txBody>
      </p:sp>
      <p:sp>
        <p:nvSpPr>
          <p:cNvPr id="57" name="副标题 56"/>
          <p:cNvSpPr>
            <a:spLocks noGrp="1"/>
          </p:cNvSpPr>
          <p:nvPr>
            <p:ph type="subTitle" idx="1"/>
          </p:nvPr>
        </p:nvSpPr>
        <p:spPr>
          <a:xfrm>
            <a:off x="729175" y="476682"/>
            <a:ext cx="10740640" cy="412485"/>
          </a:xfrm>
        </p:spPr>
        <p:txBody>
          <a:bodyPr>
            <a:spAutoFit/>
          </a:bodyPr>
          <a:lstStyle/>
          <a:p>
            <a:r>
              <a:rPr lang="zh-CN" altLang="en-US" sz="2800" dirty="0"/>
              <a:t>数字能源业务：围绕可持续发展与能源创新持续贡献科技力量</a:t>
            </a:r>
          </a:p>
        </p:txBody>
      </p:sp>
      <p:sp>
        <p:nvSpPr>
          <p:cNvPr id="88" name="Rectangle: Rounded Corners 5"/>
          <p:cNvSpPr/>
          <p:nvPr/>
        </p:nvSpPr>
        <p:spPr>
          <a:xfrm>
            <a:off x="6432264" y="1772686"/>
            <a:ext cx="4920679" cy="967333"/>
          </a:xfrm>
          <a:prstGeom prst="roundRect">
            <a:avLst>
              <a:gd name="adj" fmla="val 1612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317500" dist="190500" dir="5400000" sx="90000" sy="90000" algn="t" rotWithShape="0">
              <a:sysClr val="window" lastClr="FFFFFF">
                <a:lumMod val="50000"/>
                <a:alpha val="40000"/>
              </a:sysClr>
            </a:outerShdw>
          </a:effectLst>
        </p:spPr>
        <p:txBody>
          <a:bodyPr rtlCol="0" anchor="ctr"/>
          <a:lstStyle/>
          <a:p>
            <a:pPr algn="ctr" defTabSz="214500">
              <a:defRPr/>
            </a:pPr>
            <a:endParaRPr lang="id-ID" sz="400" kern="0">
              <a:solidFill>
                <a:prstClr val="white"/>
              </a:solidFill>
            </a:endParaRPr>
          </a:p>
        </p:txBody>
      </p:sp>
      <p:sp>
        <p:nvSpPr>
          <p:cNvPr id="89" name="Rectangle: Rounded Corners 5"/>
          <p:cNvSpPr/>
          <p:nvPr/>
        </p:nvSpPr>
        <p:spPr>
          <a:xfrm>
            <a:off x="6299471" y="2917741"/>
            <a:ext cx="5053472" cy="967333"/>
          </a:xfrm>
          <a:prstGeom prst="roundRect">
            <a:avLst>
              <a:gd name="adj" fmla="val 1612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317500" dist="190500" dir="5400000" sx="90000" sy="90000" algn="t" rotWithShape="0">
              <a:sysClr val="window" lastClr="FFFFFF">
                <a:lumMod val="50000"/>
                <a:alpha val="40000"/>
              </a:sysClr>
            </a:outerShdw>
          </a:effectLst>
        </p:spPr>
        <p:txBody>
          <a:bodyPr rtlCol="0" anchor="ctr"/>
          <a:lstStyle/>
          <a:p>
            <a:pPr algn="ctr" defTabSz="214500">
              <a:defRPr/>
            </a:pPr>
            <a:endParaRPr lang="id-ID" sz="400" kern="0">
              <a:solidFill>
                <a:prstClr val="white"/>
              </a:solidFill>
            </a:endParaRPr>
          </a:p>
        </p:txBody>
      </p:sp>
      <p:sp>
        <p:nvSpPr>
          <p:cNvPr id="93" name="Rectangle: Rounded Corners 5"/>
          <p:cNvSpPr/>
          <p:nvPr/>
        </p:nvSpPr>
        <p:spPr>
          <a:xfrm>
            <a:off x="953618" y="1768022"/>
            <a:ext cx="4899089" cy="967333"/>
          </a:xfrm>
          <a:prstGeom prst="roundRect">
            <a:avLst>
              <a:gd name="adj" fmla="val 1612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317500" dist="190500" dir="5400000" sx="90000" sy="90000" algn="t" rotWithShape="0">
              <a:sysClr val="window" lastClr="FFFFFF">
                <a:lumMod val="50000"/>
                <a:alpha val="40000"/>
              </a:sysClr>
            </a:outerShdw>
          </a:effectLst>
        </p:spPr>
        <p:txBody>
          <a:bodyPr rtlCol="0" anchor="ctr"/>
          <a:lstStyle/>
          <a:p>
            <a:pPr algn="ctr" defTabSz="214500">
              <a:defRPr/>
            </a:pPr>
            <a:endParaRPr lang="id-ID" sz="400" kern="0">
              <a:solidFill>
                <a:prstClr val="white"/>
              </a:solidFill>
            </a:endParaRPr>
          </a:p>
        </p:txBody>
      </p:sp>
      <p:sp>
        <p:nvSpPr>
          <p:cNvPr id="99" name="Rectangle: Rounded Corners 5"/>
          <p:cNvSpPr/>
          <p:nvPr/>
        </p:nvSpPr>
        <p:spPr>
          <a:xfrm>
            <a:off x="1013084" y="2944169"/>
            <a:ext cx="4839624" cy="940905"/>
          </a:xfrm>
          <a:prstGeom prst="roundRect">
            <a:avLst>
              <a:gd name="adj" fmla="val 1612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317500" dist="190500" dir="5400000" sx="90000" sy="90000" algn="t" rotWithShape="0">
              <a:sysClr val="window" lastClr="FFFFFF">
                <a:lumMod val="50000"/>
                <a:alpha val="40000"/>
              </a:sysClr>
            </a:outerShdw>
          </a:effectLst>
        </p:spPr>
        <p:txBody>
          <a:bodyPr rtlCol="0" anchor="ctr"/>
          <a:lstStyle/>
          <a:p>
            <a:pPr algn="ctr" defTabSz="214500">
              <a:defRPr/>
            </a:pPr>
            <a:endParaRPr lang="id-ID" sz="400" kern="0">
              <a:solidFill>
                <a:prstClr val="white"/>
              </a:solidFill>
            </a:endParaRPr>
          </a:p>
        </p:txBody>
      </p:sp>
      <p:sp>
        <p:nvSpPr>
          <p:cNvPr id="100" name="Rectangle: Rounded Corners 4"/>
          <p:cNvSpPr/>
          <p:nvPr/>
        </p:nvSpPr>
        <p:spPr>
          <a:xfrm>
            <a:off x="5157424" y="1216241"/>
            <a:ext cx="1881915" cy="4344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57000">
                <a:schemeClr val="tx2"/>
              </a:gs>
              <a:gs pos="100000">
                <a:srgbClr val="EFEFEF"/>
              </a:gs>
            </a:gsLst>
            <a:path path="shape">
              <a:fillToRect l="50000" t="50000" r="50000" b="50000"/>
            </a:path>
            <a:tileRect/>
          </a:gradFill>
          <a:ln w="19050" cap="flat" cmpd="sng" algn="ctr">
            <a:gradFill flip="none" rotWithShape="1">
              <a:gsLst>
                <a:gs pos="0">
                  <a:srgbClr val="D33941"/>
                </a:gs>
                <a:gs pos="100000">
                  <a:schemeClr val="bg2"/>
                </a:gs>
              </a:gsLst>
              <a:lin ang="16200000" scaled="1"/>
              <a:tileRect/>
            </a:gra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0" tIns="0" rIns="0" bIns="107972" anchor="ctr" anchorCtr="1"/>
          <a:lstStyle/>
          <a:p>
            <a:pPr algn="ctr">
              <a:lnSpc>
                <a:spcPct val="200000"/>
              </a:lnSpc>
            </a:pPr>
            <a:endParaRPr lang="zh-CN" altLang="zh-CN" b="1" dirty="0">
              <a:solidFill>
                <a:srgbClr val="1D1D1A"/>
              </a:solidFill>
              <a:latin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01" name="流程图: 终止 100"/>
          <p:cNvSpPr/>
          <p:nvPr/>
        </p:nvSpPr>
        <p:spPr>
          <a:xfrm>
            <a:off x="5236861" y="1167503"/>
            <a:ext cx="1773880" cy="480657"/>
          </a:xfrm>
          <a:prstGeom prst="flowChartTerminator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r>
              <a:rPr lang="zh-CN" altLang="en-US" b="1" kern="0" dirty="0">
                <a:solidFill>
                  <a:srgbClr val="1D1D1A"/>
                </a:solidFill>
                <a:latin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行业认可</a:t>
            </a:r>
          </a:p>
        </p:txBody>
      </p:sp>
      <p:sp>
        <p:nvSpPr>
          <p:cNvPr id="102" name="矩形 101">
            <a:extLst>
              <a:ext uri="{FF2B5EF4-FFF2-40B4-BE49-F238E27FC236}">
                <a16:creationId xmlns:a16="http://schemas.microsoft.com/office/drawing/2014/main" id="{1924FF9C-B529-4CA0-AE91-CFDCEB69C4CB}"/>
              </a:ext>
            </a:extLst>
          </p:cNvPr>
          <p:cNvSpPr/>
          <p:nvPr/>
        </p:nvSpPr>
        <p:spPr>
          <a:xfrm>
            <a:off x="1799317" y="1922400"/>
            <a:ext cx="4161628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112"/>
            <a:r>
              <a:rPr lang="zh-CN" altLang="zh-CN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华为</a:t>
            </a:r>
            <a:r>
              <a:rPr lang="en-US" altLang="zh-CN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Green 5G Power</a:t>
            </a:r>
            <a:r>
              <a:rPr lang="zh-CN" altLang="zh-CN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解决方案</a:t>
            </a:r>
            <a:r>
              <a:rPr lang="zh-CN" altLang="en-US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获得</a:t>
            </a:r>
            <a:endParaRPr lang="en-US" altLang="zh-CN" sz="1400" dirty="0">
              <a:solidFill>
                <a:srgbClr val="1D1D1A"/>
              </a:solidFill>
              <a:latin typeface="微软雅黑" panose="020B0503020204020204" pitchFamily="34" charset="-122"/>
            </a:endParaRPr>
          </a:p>
          <a:p>
            <a:pPr defTabSz="914112"/>
            <a:r>
              <a:rPr lang="en-US" altLang="zh-CN" sz="1400" b="1" dirty="0">
                <a:solidFill>
                  <a:srgbClr val="1D1D1A"/>
                </a:solidFill>
                <a:latin typeface="微软雅黑" panose="020B0503020204020204" pitchFamily="34" charset="-122"/>
              </a:rPr>
              <a:t>ITU</a:t>
            </a:r>
            <a:r>
              <a:rPr lang="zh-CN" altLang="zh-CN" sz="1400" b="1" dirty="0">
                <a:solidFill>
                  <a:srgbClr val="1D1D1A"/>
                </a:solidFill>
                <a:latin typeface="微软雅黑" panose="020B0503020204020204" pitchFamily="34" charset="-122"/>
              </a:rPr>
              <a:t>可持续发展大奖（</a:t>
            </a:r>
            <a:r>
              <a:rPr lang="en-US" altLang="zh-CN" sz="1400" b="1" dirty="0">
                <a:solidFill>
                  <a:srgbClr val="1D1D1A"/>
                </a:solidFill>
                <a:latin typeface="微软雅黑" panose="020B0503020204020204" pitchFamily="34" charset="-122"/>
              </a:rPr>
              <a:t>Global Industry Awards: Sustainable Impact</a:t>
            </a:r>
            <a:r>
              <a:rPr lang="zh-CN" altLang="zh-CN" sz="1400" b="1" dirty="0">
                <a:solidFill>
                  <a:srgbClr val="1D1D1A"/>
                </a:solidFill>
                <a:latin typeface="微软雅黑" panose="020B0503020204020204" pitchFamily="34" charset="-122"/>
              </a:rPr>
              <a:t>）</a:t>
            </a:r>
            <a:endParaRPr lang="en-US" altLang="zh-CN" sz="1400" b="1" dirty="0">
              <a:solidFill>
                <a:srgbClr val="1D1D1A"/>
              </a:solidFill>
              <a:latin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pic>
        <p:nvPicPr>
          <p:cNvPr id="104" name="图片 103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5222" y="1831468"/>
            <a:ext cx="709128" cy="801923"/>
          </a:xfrm>
          <a:prstGeom prst="rect">
            <a:avLst/>
          </a:prstGeom>
        </p:spPr>
      </p:pic>
      <p:sp>
        <p:nvSpPr>
          <p:cNvPr id="106" name="矩形 105"/>
          <p:cNvSpPr/>
          <p:nvPr/>
        </p:nvSpPr>
        <p:spPr>
          <a:xfrm>
            <a:off x="1822720" y="3234476"/>
            <a:ext cx="389078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zh-CN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华为</a:t>
            </a:r>
            <a:r>
              <a:rPr lang="en-US" altLang="zh-CN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SUN2000 </a:t>
            </a:r>
            <a:r>
              <a:rPr lang="zh-CN" altLang="zh-CN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分布式系列智能光伏逆变器</a:t>
            </a:r>
            <a:r>
              <a:rPr lang="zh-CN" altLang="en-US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获得</a:t>
            </a:r>
            <a:r>
              <a:rPr lang="en-US" altLang="zh-CN" sz="1400" b="1" dirty="0">
                <a:solidFill>
                  <a:srgbClr val="1D1D1A"/>
                </a:solidFill>
                <a:latin typeface="微软雅黑" panose="020B0503020204020204" pitchFamily="34" charset="-122"/>
              </a:rPr>
              <a:t> </a:t>
            </a:r>
            <a:r>
              <a:rPr lang="en-US" altLang="zh-CN" sz="1400" b="1" dirty="0" err="1">
                <a:solidFill>
                  <a:srgbClr val="1D1D1A"/>
                </a:solidFill>
                <a:latin typeface="微软雅黑" panose="020B0503020204020204" pitchFamily="34" charset="-122"/>
              </a:rPr>
              <a:t>Intersolar</a:t>
            </a:r>
            <a:r>
              <a:rPr lang="en-US" altLang="zh-CN" sz="1400" b="1" dirty="0">
                <a:solidFill>
                  <a:srgbClr val="1D1D1A"/>
                </a:solidFill>
                <a:latin typeface="微软雅黑" panose="020B0503020204020204" pitchFamily="34" charset="-122"/>
              </a:rPr>
              <a:t> </a:t>
            </a:r>
            <a:r>
              <a:rPr lang="zh-CN" altLang="zh-CN" sz="1400" b="1" dirty="0">
                <a:solidFill>
                  <a:srgbClr val="1D1D1A"/>
                </a:solidFill>
                <a:latin typeface="微软雅黑" panose="020B0503020204020204" pitchFamily="34" charset="-122"/>
              </a:rPr>
              <a:t>大奖</a:t>
            </a:r>
          </a:p>
        </p:txBody>
      </p:sp>
      <p:sp>
        <p:nvSpPr>
          <p:cNvPr id="107" name="矩形 106"/>
          <p:cNvSpPr/>
          <p:nvPr/>
        </p:nvSpPr>
        <p:spPr>
          <a:xfrm>
            <a:off x="7407789" y="2105951"/>
            <a:ext cx="383364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zh-CN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华为智慧超级站解决方案荣获</a:t>
            </a:r>
            <a:endParaRPr lang="en-US" altLang="zh-CN" sz="1400" dirty="0">
              <a:solidFill>
                <a:srgbClr val="1D1D1A"/>
              </a:solidFill>
              <a:latin typeface="微软雅黑" panose="020B0503020204020204" pitchFamily="34" charset="-122"/>
            </a:endParaRPr>
          </a:p>
          <a:p>
            <a:r>
              <a:rPr lang="en-US" altLang="zh-CN" sz="1400" b="1" dirty="0">
                <a:solidFill>
                  <a:srgbClr val="1D1D1A"/>
                </a:solidFill>
                <a:latin typeface="微软雅黑" panose="020B0503020204020204" pitchFamily="34" charset="-122"/>
              </a:rPr>
              <a:t>Interop</a:t>
            </a:r>
            <a:r>
              <a:rPr lang="zh-CN" altLang="zh-CN" sz="1400" b="1" dirty="0">
                <a:solidFill>
                  <a:srgbClr val="1D1D1A"/>
                </a:solidFill>
                <a:latin typeface="微软雅黑" panose="020B0503020204020204" pitchFamily="34" charset="-122"/>
              </a:rPr>
              <a:t>东京展”</a:t>
            </a:r>
            <a:r>
              <a:rPr lang="en-US" altLang="zh-CN" sz="1400" b="1" dirty="0">
                <a:solidFill>
                  <a:srgbClr val="1D1D1A"/>
                </a:solidFill>
                <a:latin typeface="微软雅黑" panose="020B0503020204020204" pitchFamily="34" charset="-122"/>
              </a:rPr>
              <a:t>Best of Show Award</a:t>
            </a:r>
            <a:r>
              <a:rPr lang="zh-CN" altLang="zh-CN" sz="1400" b="1" dirty="0">
                <a:solidFill>
                  <a:srgbClr val="1D1D1A"/>
                </a:solidFill>
                <a:latin typeface="微软雅黑" panose="020B0503020204020204" pitchFamily="34" charset="-122"/>
              </a:rPr>
              <a:t>“金奖</a:t>
            </a:r>
          </a:p>
        </p:txBody>
      </p:sp>
      <p:sp>
        <p:nvSpPr>
          <p:cNvPr id="108" name="矩形 107"/>
          <p:cNvSpPr/>
          <p:nvPr/>
        </p:nvSpPr>
        <p:spPr>
          <a:xfrm>
            <a:off x="7448884" y="3200876"/>
            <a:ext cx="3595622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zh-CN" altLang="zh-CN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华为</a:t>
            </a:r>
            <a:r>
              <a:rPr lang="zh-CN" altLang="en-US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数据中心能源</a:t>
            </a:r>
            <a:r>
              <a:rPr lang="zh-CN" altLang="zh-CN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荣获</a:t>
            </a:r>
            <a:endParaRPr lang="en-US" altLang="zh-CN" sz="1400" dirty="0">
              <a:solidFill>
                <a:srgbClr val="1D1D1A"/>
              </a:solidFill>
              <a:latin typeface="微软雅黑" panose="020B0503020204020204" pitchFamily="34" charset="-122"/>
            </a:endParaRPr>
          </a:p>
          <a:p>
            <a:r>
              <a:rPr lang="zh-CN" altLang="zh-CN" sz="1400" b="1" dirty="0">
                <a:solidFill>
                  <a:srgbClr val="1D1D1A"/>
                </a:solidFill>
                <a:latin typeface="微软雅黑" panose="020B0503020204020204" pitchFamily="34" charset="-122"/>
              </a:rPr>
              <a:t>欧洲数据中心权威机构“</a:t>
            </a:r>
            <a:r>
              <a:rPr lang="en-US" altLang="zh-CN" sz="1400" b="1" dirty="0">
                <a:solidFill>
                  <a:srgbClr val="1D1D1A"/>
                </a:solidFill>
                <a:latin typeface="微软雅黑" panose="020B0503020204020204" pitchFamily="34" charset="-122"/>
              </a:rPr>
              <a:t>DCS</a:t>
            </a:r>
            <a:r>
              <a:rPr lang="zh-CN" altLang="zh-CN" sz="1400" b="1" dirty="0">
                <a:solidFill>
                  <a:srgbClr val="1D1D1A"/>
                </a:solidFill>
                <a:latin typeface="微软雅黑" panose="020B0503020204020204" pitchFamily="34" charset="-122"/>
              </a:rPr>
              <a:t>奖项”</a:t>
            </a:r>
            <a:endParaRPr lang="zh-CN" altLang="en-US" sz="1400" b="1" dirty="0">
              <a:solidFill>
                <a:srgbClr val="1D1D1A"/>
              </a:solidFill>
              <a:latin typeface="微软雅黑" panose="020B0503020204020204" pitchFamily="34" charset="-122"/>
            </a:endParaRPr>
          </a:p>
        </p:txBody>
      </p:sp>
      <p:pic>
        <p:nvPicPr>
          <p:cNvPr id="111" name="Picture 2" descr="C:\Users\z00229034\AppData\Roaming\eSpace_Desktop\UserData\z00588910\imagefiles\b6c8a045afdcc7ba712c4e57aab6791455cabda3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95393" y="3127575"/>
            <a:ext cx="811759" cy="534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" name="Picture 2" descr="C:\Users\z00229034\AppData\Roaming\eSpace_Desktop\UserData\z00588910\imagefiles\8d32821c88374c64da3d09e37048644e00f80d86.jp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64780" y="3011980"/>
            <a:ext cx="465699" cy="771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" name="Picture 2" descr="C:\Users\z00229034\AppData\Roaming\eSpace_Desktop\UserData\z00588910\imagefiles\A46831BD-8786-4B40-A8D2-D6036AAD23EF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1806" y="1814781"/>
            <a:ext cx="975160" cy="898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椭圆 61">
            <a:extLst>
              <a:ext uri="{FF2B5EF4-FFF2-40B4-BE49-F238E27FC236}">
                <a16:creationId xmlns:a16="http://schemas.microsoft.com/office/drawing/2014/main" id="{1C7BAD29-B353-424C-BA60-722997AC24DF}"/>
              </a:ext>
            </a:extLst>
          </p:cNvPr>
          <p:cNvSpPr/>
          <p:nvPr/>
        </p:nvSpPr>
        <p:spPr>
          <a:xfrm>
            <a:off x="3784458" y="4848642"/>
            <a:ext cx="941440" cy="941536"/>
          </a:xfrm>
          <a:prstGeom prst="ellipse">
            <a:avLst/>
          </a:prstGeom>
          <a:gradFill flip="none" rotWithShape="1">
            <a:gsLst>
              <a:gs pos="38000">
                <a:srgbClr val="666666">
                  <a:lumMod val="60000"/>
                  <a:lumOff val="40000"/>
                  <a:alpha val="2000"/>
                </a:srgbClr>
              </a:gs>
              <a:gs pos="100000">
                <a:srgbClr val="666666">
                  <a:lumMod val="60000"/>
                  <a:lumOff val="40000"/>
                  <a:alpha val="15000"/>
                </a:srgbClr>
              </a:gs>
            </a:gsLst>
            <a:path path="shape">
              <a:fillToRect l="50000" t="50000" r="50000" b="50000"/>
            </a:path>
            <a:tileRect/>
          </a:gradFill>
          <a:ln w="6350" cap="flat" cmpd="sng" algn="ctr">
            <a:gradFill flip="none" rotWithShape="1">
              <a:gsLst>
                <a:gs pos="0">
                  <a:srgbClr val="666666">
                    <a:lumMod val="60000"/>
                    <a:lumOff val="40000"/>
                    <a:alpha val="80000"/>
                  </a:srgbClr>
                </a:gs>
                <a:gs pos="100000">
                  <a:srgbClr val="666666">
                    <a:lumMod val="60000"/>
                    <a:lumOff val="40000"/>
                    <a:alpha val="40000"/>
                  </a:srgbClr>
                </a:gs>
              </a:gsLst>
              <a:lin ang="0" scaled="0"/>
              <a:tileRect/>
            </a:gra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0" tIns="0" rIns="0" bIns="0" anchor="ctr" anchorCtr="1"/>
          <a:lstStyle/>
          <a:p>
            <a:pPr algn="ctr" defTabSz="914355"/>
            <a:endParaRPr lang="zh-CN" altLang="en-US" sz="1200" b="1" kern="0" spc="50">
              <a:solidFill>
                <a:sysClr val="windowText" lastClr="000000"/>
              </a:solidFill>
              <a:cs typeface="Arial" pitchFamily="34" charset="0"/>
            </a:endParaRPr>
          </a:p>
        </p:txBody>
      </p: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C43CA50B-0AA4-4CE4-A487-66058A068889}"/>
              </a:ext>
            </a:extLst>
          </p:cNvPr>
          <p:cNvGrpSpPr/>
          <p:nvPr/>
        </p:nvGrpSpPr>
        <p:grpSpPr>
          <a:xfrm>
            <a:off x="3939209" y="5008649"/>
            <a:ext cx="625068" cy="598488"/>
            <a:chOff x="3978275" y="7165975"/>
            <a:chExt cx="1157288" cy="1108076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43D95E21-9C07-47F3-84C9-B1A86B9A23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9113" y="7627938"/>
              <a:ext cx="269875" cy="315913"/>
            </a:xfrm>
            <a:custGeom>
              <a:avLst/>
              <a:gdLst>
                <a:gd name="T0" fmla="*/ 14 w 71"/>
                <a:gd name="T1" fmla="*/ 0 h 83"/>
                <a:gd name="T2" fmla="*/ 61 w 71"/>
                <a:gd name="T3" fmla="*/ 83 h 83"/>
                <a:gd name="T4" fmla="*/ 47 w 71"/>
                <a:gd name="T5" fmla="*/ 60 h 83"/>
                <a:gd name="T6" fmla="*/ 31 w 71"/>
                <a:gd name="T7" fmla="*/ 36 h 83"/>
                <a:gd name="T8" fmla="*/ 52 w 71"/>
                <a:gd name="T9" fmla="*/ 55 h 83"/>
                <a:gd name="T10" fmla="*/ 68 w 71"/>
                <a:gd name="T11" fmla="*/ 73 h 83"/>
                <a:gd name="T12" fmla="*/ 60 w 71"/>
                <a:gd name="T13" fmla="*/ 42 h 83"/>
                <a:gd name="T14" fmla="*/ 14 w 71"/>
                <a:gd name="T15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83">
                  <a:moveTo>
                    <a:pt x="14" y="0"/>
                  </a:moveTo>
                  <a:cubicBezTo>
                    <a:pt x="14" y="0"/>
                    <a:pt x="0" y="73"/>
                    <a:pt x="61" y="83"/>
                  </a:cubicBezTo>
                  <a:cubicBezTo>
                    <a:pt x="61" y="83"/>
                    <a:pt x="58" y="71"/>
                    <a:pt x="47" y="60"/>
                  </a:cubicBezTo>
                  <a:cubicBezTo>
                    <a:pt x="36" y="49"/>
                    <a:pt x="34" y="44"/>
                    <a:pt x="31" y="36"/>
                  </a:cubicBezTo>
                  <a:cubicBezTo>
                    <a:pt x="31" y="36"/>
                    <a:pt x="44" y="49"/>
                    <a:pt x="52" y="55"/>
                  </a:cubicBezTo>
                  <a:cubicBezTo>
                    <a:pt x="60" y="62"/>
                    <a:pt x="66" y="71"/>
                    <a:pt x="68" y="73"/>
                  </a:cubicBezTo>
                  <a:cubicBezTo>
                    <a:pt x="68" y="73"/>
                    <a:pt x="71" y="60"/>
                    <a:pt x="60" y="42"/>
                  </a:cubicBezTo>
                  <a:cubicBezTo>
                    <a:pt x="49" y="24"/>
                    <a:pt x="29" y="21"/>
                    <a:pt x="14" y="0"/>
                  </a:cubicBezTo>
                  <a:close/>
                </a:path>
              </a:pathLst>
            </a:custGeom>
            <a:solidFill>
              <a:srgbClr val="59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rgbClr val="1D1D1A"/>
                </a:solidFill>
              </a:endParaRPr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281DE742-44EF-44FF-A328-C2A95D40EC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3113" y="7764463"/>
              <a:ext cx="155575" cy="160338"/>
            </a:xfrm>
            <a:custGeom>
              <a:avLst/>
              <a:gdLst>
                <a:gd name="T0" fmla="*/ 10 w 41"/>
                <a:gd name="T1" fmla="*/ 41 h 42"/>
                <a:gd name="T2" fmla="*/ 41 w 41"/>
                <a:gd name="T3" fmla="*/ 0 h 42"/>
                <a:gd name="T4" fmla="*/ 37 w 41"/>
                <a:gd name="T5" fmla="*/ 19 h 42"/>
                <a:gd name="T6" fmla="*/ 15 w 41"/>
                <a:gd name="T7" fmla="*/ 42 h 42"/>
                <a:gd name="T8" fmla="*/ 27 w 41"/>
                <a:gd name="T9" fmla="*/ 17 h 42"/>
                <a:gd name="T10" fmla="*/ 10 w 41"/>
                <a:gd name="T11" fmla="*/ 4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2">
                  <a:moveTo>
                    <a:pt x="10" y="41"/>
                  </a:moveTo>
                  <a:cubicBezTo>
                    <a:pt x="10" y="41"/>
                    <a:pt x="0" y="14"/>
                    <a:pt x="41" y="0"/>
                  </a:cubicBezTo>
                  <a:cubicBezTo>
                    <a:pt x="41" y="0"/>
                    <a:pt x="38" y="9"/>
                    <a:pt x="37" y="19"/>
                  </a:cubicBezTo>
                  <a:cubicBezTo>
                    <a:pt x="34" y="30"/>
                    <a:pt x="25" y="41"/>
                    <a:pt x="15" y="42"/>
                  </a:cubicBezTo>
                  <a:cubicBezTo>
                    <a:pt x="15" y="42"/>
                    <a:pt x="17" y="29"/>
                    <a:pt x="27" y="17"/>
                  </a:cubicBezTo>
                  <a:cubicBezTo>
                    <a:pt x="27" y="17"/>
                    <a:pt x="14" y="27"/>
                    <a:pt x="10" y="41"/>
                  </a:cubicBezTo>
                  <a:close/>
                </a:path>
              </a:pathLst>
            </a:custGeom>
            <a:solidFill>
              <a:srgbClr val="59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rgbClr val="1D1D1A"/>
                </a:solidFill>
              </a:endParaRPr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E9FB1622-7AA2-43AB-8428-19E822913C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4400" y="7894638"/>
              <a:ext cx="117475" cy="117475"/>
            </a:xfrm>
            <a:custGeom>
              <a:avLst/>
              <a:gdLst>
                <a:gd name="T0" fmla="*/ 9 w 31"/>
                <a:gd name="T1" fmla="*/ 28 h 31"/>
                <a:gd name="T2" fmla="*/ 4 w 31"/>
                <a:gd name="T3" fmla="*/ 10 h 31"/>
                <a:gd name="T4" fmla="*/ 21 w 31"/>
                <a:gd name="T5" fmla="*/ 4 h 31"/>
                <a:gd name="T6" fmla="*/ 27 w 31"/>
                <a:gd name="T7" fmla="*/ 22 h 31"/>
                <a:gd name="T8" fmla="*/ 9 w 31"/>
                <a:gd name="T9" fmla="*/ 2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9" y="28"/>
                  </a:moveTo>
                  <a:cubicBezTo>
                    <a:pt x="3" y="24"/>
                    <a:pt x="0" y="16"/>
                    <a:pt x="4" y="10"/>
                  </a:cubicBezTo>
                  <a:cubicBezTo>
                    <a:pt x="7" y="3"/>
                    <a:pt x="15" y="0"/>
                    <a:pt x="21" y="4"/>
                  </a:cubicBezTo>
                  <a:cubicBezTo>
                    <a:pt x="28" y="8"/>
                    <a:pt x="31" y="16"/>
                    <a:pt x="27" y="22"/>
                  </a:cubicBezTo>
                  <a:cubicBezTo>
                    <a:pt x="24" y="29"/>
                    <a:pt x="15" y="31"/>
                    <a:pt x="9" y="28"/>
                  </a:cubicBezTo>
                  <a:close/>
                </a:path>
              </a:pathLst>
            </a:custGeom>
            <a:solidFill>
              <a:srgbClr val="585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rgbClr val="1D1D1A"/>
                </a:solidFill>
              </a:endParaRPr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54D7F930-209B-4582-A024-668D296D0C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5838" y="7761288"/>
              <a:ext cx="114300" cy="114300"/>
            </a:xfrm>
            <a:custGeom>
              <a:avLst/>
              <a:gdLst>
                <a:gd name="T0" fmla="*/ 9 w 30"/>
                <a:gd name="T1" fmla="*/ 27 h 30"/>
                <a:gd name="T2" fmla="*/ 3 w 30"/>
                <a:gd name="T3" fmla="*/ 9 h 30"/>
                <a:gd name="T4" fmla="*/ 21 w 30"/>
                <a:gd name="T5" fmla="*/ 3 h 30"/>
                <a:gd name="T6" fmla="*/ 26 w 30"/>
                <a:gd name="T7" fmla="*/ 21 h 30"/>
                <a:gd name="T8" fmla="*/ 9 w 30"/>
                <a:gd name="T9" fmla="*/ 2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30">
                  <a:moveTo>
                    <a:pt x="9" y="27"/>
                  </a:moveTo>
                  <a:cubicBezTo>
                    <a:pt x="2" y="24"/>
                    <a:pt x="0" y="16"/>
                    <a:pt x="3" y="9"/>
                  </a:cubicBezTo>
                  <a:cubicBezTo>
                    <a:pt x="6" y="3"/>
                    <a:pt x="14" y="0"/>
                    <a:pt x="21" y="3"/>
                  </a:cubicBezTo>
                  <a:cubicBezTo>
                    <a:pt x="27" y="7"/>
                    <a:pt x="30" y="14"/>
                    <a:pt x="26" y="21"/>
                  </a:cubicBezTo>
                  <a:cubicBezTo>
                    <a:pt x="23" y="28"/>
                    <a:pt x="15" y="30"/>
                    <a:pt x="9" y="27"/>
                  </a:cubicBezTo>
                  <a:close/>
                </a:path>
              </a:pathLst>
            </a:custGeom>
            <a:solidFill>
              <a:srgbClr val="585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rgbClr val="1D1D1A"/>
                </a:solidFill>
              </a:endParaRPr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1B2E22EE-9B38-49A3-BD9A-06216D2F644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7538" y="8008938"/>
              <a:ext cx="266700" cy="265113"/>
            </a:xfrm>
            <a:custGeom>
              <a:avLst/>
              <a:gdLst>
                <a:gd name="T0" fmla="*/ 53 w 70"/>
                <a:gd name="T1" fmla="*/ 70 h 70"/>
                <a:gd name="T2" fmla="*/ 16 w 70"/>
                <a:gd name="T3" fmla="*/ 70 h 70"/>
                <a:gd name="T4" fmla="*/ 11 w 70"/>
                <a:gd name="T5" fmla="*/ 67 h 70"/>
                <a:gd name="T6" fmla="*/ 0 w 70"/>
                <a:gd name="T7" fmla="*/ 51 h 70"/>
                <a:gd name="T8" fmla="*/ 0 w 70"/>
                <a:gd name="T9" fmla="*/ 48 h 70"/>
                <a:gd name="T10" fmla="*/ 0 w 70"/>
                <a:gd name="T11" fmla="*/ 6 h 70"/>
                <a:gd name="T12" fmla="*/ 5 w 70"/>
                <a:gd name="T13" fmla="*/ 0 h 70"/>
                <a:gd name="T14" fmla="*/ 11 w 70"/>
                <a:gd name="T15" fmla="*/ 6 h 70"/>
                <a:gd name="T16" fmla="*/ 11 w 70"/>
                <a:gd name="T17" fmla="*/ 46 h 70"/>
                <a:gd name="T18" fmla="*/ 19 w 70"/>
                <a:gd name="T19" fmla="*/ 58 h 70"/>
                <a:gd name="T20" fmla="*/ 50 w 70"/>
                <a:gd name="T21" fmla="*/ 58 h 70"/>
                <a:gd name="T22" fmla="*/ 58 w 70"/>
                <a:gd name="T23" fmla="*/ 46 h 70"/>
                <a:gd name="T24" fmla="*/ 58 w 70"/>
                <a:gd name="T25" fmla="*/ 6 h 70"/>
                <a:gd name="T26" fmla="*/ 64 w 70"/>
                <a:gd name="T27" fmla="*/ 0 h 70"/>
                <a:gd name="T28" fmla="*/ 70 w 70"/>
                <a:gd name="T29" fmla="*/ 6 h 70"/>
                <a:gd name="T30" fmla="*/ 70 w 70"/>
                <a:gd name="T31" fmla="*/ 48 h 70"/>
                <a:gd name="T32" fmla="*/ 69 w 70"/>
                <a:gd name="T33" fmla="*/ 51 h 70"/>
                <a:gd name="T34" fmla="*/ 58 w 70"/>
                <a:gd name="T35" fmla="*/ 67 h 70"/>
                <a:gd name="T36" fmla="*/ 53 w 70"/>
                <a:gd name="T3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0" h="70">
                  <a:moveTo>
                    <a:pt x="53" y="70"/>
                  </a:moveTo>
                  <a:cubicBezTo>
                    <a:pt x="16" y="70"/>
                    <a:pt x="16" y="70"/>
                    <a:pt x="16" y="70"/>
                  </a:cubicBezTo>
                  <a:cubicBezTo>
                    <a:pt x="14" y="70"/>
                    <a:pt x="13" y="69"/>
                    <a:pt x="11" y="67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0"/>
                    <a:pt x="0" y="49"/>
                    <a:pt x="0" y="4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9" y="0"/>
                    <a:pt x="11" y="2"/>
                    <a:pt x="11" y="6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58" y="46"/>
                    <a:pt x="58" y="46"/>
                    <a:pt x="58" y="46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8" y="2"/>
                    <a:pt x="60" y="0"/>
                    <a:pt x="64" y="0"/>
                  </a:cubicBezTo>
                  <a:cubicBezTo>
                    <a:pt x="67" y="0"/>
                    <a:pt x="70" y="2"/>
                    <a:pt x="70" y="6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9"/>
                    <a:pt x="70" y="50"/>
                    <a:pt x="69" y="51"/>
                  </a:cubicBezTo>
                  <a:cubicBezTo>
                    <a:pt x="58" y="67"/>
                    <a:pt x="58" y="67"/>
                    <a:pt x="58" y="67"/>
                  </a:cubicBezTo>
                  <a:cubicBezTo>
                    <a:pt x="57" y="69"/>
                    <a:pt x="55" y="70"/>
                    <a:pt x="53" y="70"/>
                  </a:cubicBezTo>
                  <a:close/>
                </a:path>
              </a:pathLst>
            </a:custGeom>
            <a:solidFill>
              <a:srgbClr val="585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rgbClr val="1D1D1A"/>
                </a:solidFill>
              </a:endParaRPr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FB3D3AEF-7E04-442D-8AD0-60089BE89D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7538" y="8107363"/>
              <a:ext cx="266700" cy="44450"/>
            </a:xfrm>
            <a:custGeom>
              <a:avLst/>
              <a:gdLst>
                <a:gd name="T0" fmla="*/ 64 w 70"/>
                <a:gd name="T1" fmla="*/ 12 h 12"/>
                <a:gd name="T2" fmla="*/ 5 w 70"/>
                <a:gd name="T3" fmla="*/ 12 h 12"/>
                <a:gd name="T4" fmla="*/ 0 w 70"/>
                <a:gd name="T5" fmla="*/ 6 h 12"/>
                <a:gd name="T6" fmla="*/ 5 w 70"/>
                <a:gd name="T7" fmla="*/ 0 h 12"/>
                <a:gd name="T8" fmla="*/ 64 w 70"/>
                <a:gd name="T9" fmla="*/ 0 h 12"/>
                <a:gd name="T10" fmla="*/ 70 w 70"/>
                <a:gd name="T11" fmla="*/ 6 h 12"/>
                <a:gd name="T12" fmla="*/ 64 w 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12">
                  <a:moveTo>
                    <a:pt x="64" y="12"/>
                  </a:moveTo>
                  <a:cubicBezTo>
                    <a:pt x="5" y="12"/>
                    <a:pt x="5" y="12"/>
                    <a:pt x="5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7" y="0"/>
                    <a:pt x="70" y="3"/>
                    <a:pt x="70" y="6"/>
                  </a:cubicBezTo>
                  <a:cubicBezTo>
                    <a:pt x="70" y="9"/>
                    <a:pt x="67" y="12"/>
                    <a:pt x="64" y="12"/>
                  </a:cubicBezTo>
                  <a:close/>
                </a:path>
              </a:pathLst>
            </a:custGeom>
            <a:solidFill>
              <a:srgbClr val="585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rgbClr val="1D1D1A"/>
                </a:solidFill>
              </a:endParaRPr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016652D8-11DF-4685-8927-C38F1AF58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7700" y="8167688"/>
              <a:ext cx="201613" cy="46038"/>
            </a:xfrm>
            <a:custGeom>
              <a:avLst/>
              <a:gdLst>
                <a:gd name="T0" fmla="*/ 47 w 53"/>
                <a:gd name="T1" fmla="*/ 12 h 12"/>
                <a:gd name="T2" fmla="*/ 6 w 53"/>
                <a:gd name="T3" fmla="*/ 12 h 12"/>
                <a:gd name="T4" fmla="*/ 0 w 53"/>
                <a:gd name="T5" fmla="*/ 6 h 12"/>
                <a:gd name="T6" fmla="*/ 6 w 53"/>
                <a:gd name="T7" fmla="*/ 0 h 12"/>
                <a:gd name="T8" fmla="*/ 47 w 53"/>
                <a:gd name="T9" fmla="*/ 0 h 12"/>
                <a:gd name="T10" fmla="*/ 53 w 53"/>
                <a:gd name="T11" fmla="*/ 6 h 12"/>
                <a:gd name="T12" fmla="*/ 47 w 53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12">
                  <a:moveTo>
                    <a:pt x="47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0" y="0"/>
                    <a:pt x="53" y="3"/>
                    <a:pt x="53" y="6"/>
                  </a:cubicBezTo>
                  <a:cubicBezTo>
                    <a:pt x="53" y="9"/>
                    <a:pt x="50" y="12"/>
                    <a:pt x="47" y="12"/>
                  </a:cubicBezTo>
                  <a:close/>
                </a:path>
              </a:pathLst>
            </a:custGeom>
            <a:solidFill>
              <a:srgbClr val="585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rgbClr val="1D1D1A"/>
                </a:solidFill>
              </a:endParaRPr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67FD4758-DBF4-4047-A0DE-F9C37E4BA2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8275" y="7715250"/>
              <a:ext cx="220663" cy="46038"/>
            </a:xfrm>
            <a:custGeom>
              <a:avLst/>
              <a:gdLst>
                <a:gd name="T0" fmla="*/ 52 w 58"/>
                <a:gd name="T1" fmla="*/ 12 h 12"/>
                <a:gd name="T2" fmla="*/ 6 w 58"/>
                <a:gd name="T3" fmla="*/ 12 h 12"/>
                <a:gd name="T4" fmla="*/ 0 w 58"/>
                <a:gd name="T5" fmla="*/ 6 h 12"/>
                <a:gd name="T6" fmla="*/ 6 w 58"/>
                <a:gd name="T7" fmla="*/ 0 h 12"/>
                <a:gd name="T8" fmla="*/ 52 w 58"/>
                <a:gd name="T9" fmla="*/ 0 h 12"/>
                <a:gd name="T10" fmla="*/ 58 w 58"/>
                <a:gd name="T11" fmla="*/ 6 h 12"/>
                <a:gd name="T12" fmla="*/ 52 w 5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12">
                  <a:moveTo>
                    <a:pt x="5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8" y="3"/>
                    <a:pt x="58" y="6"/>
                  </a:cubicBezTo>
                  <a:cubicBezTo>
                    <a:pt x="58" y="9"/>
                    <a:pt x="55" y="12"/>
                    <a:pt x="52" y="12"/>
                  </a:cubicBezTo>
                  <a:close/>
                </a:path>
              </a:pathLst>
            </a:custGeom>
            <a:solidFill>
              <a:srgbClr val="585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rgbClr val="1D1D1A"/>
                </a:solidFill>
              </a:endParaRPr>
            </a:p>
          </p:txBody>
        </p:sp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475F31FC-78A3-4247-9489-4FDC498F0E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1788" y="7324725"/>
              <a:ext cx="168275" cy="166688"/>
            </a:xfrm>
            <a:custGeom>
              <a:avLst/>
              <a:gdLst>
                <a:gd name="T0" fmla="*/ 38 w 44"/>
                <a:gd name="T1" fmla="*/ 44 h 44"/>
                <a:gd name="T2" fmla="*/ 34 w 44"/>
                <a:gd name="T3" fmla="*/ 42 h 44"/>
                <a:gd name="T4" fmla="*/ 2 w 44"/>
                <a:gd name="T5" fmla="*/ 11 h 44"/>
                <a:gd name="T6" fmla="*/ 2 w 44"/>
                <a:gd name="T7" fmla="*/ 2 h 44"/>
                <a:gd name="T8" fmla="*/ 11 w 44"/>
                <a:gd name="T9" fmla="*/ 2 h 44"/>
                <a:gd name="T10" fmla="*/ 42 w 44"/>
                <a:gd name="T11" fmla="*/ 34 h 44"/>
                <a:gd name="T12" fmla="*/ 42 w 44"/>
                <a:gd name="T13" fmla="*/ 42 h 44"/>
                <a:gd name="T14" fmla="*/ 38 w 44"/>
                <a:gd name="T15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44">
                  <a:moveTo>
                    <a:pt x="38" y="44"/>
                  </a:moveTo>
                  <a:cubicBezTo>
                    <a:pt x="37" y="44"/>
                    <a:pt x="35" y="43"/>
                    <a:pt x="34" y="4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5" y="0"/>
                    <a:pt x="8" y="0"/>
                    <a:pt x="11" y="2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4" y="36"/>
                    <a:pt x="44" y="40"/>
                    <a:pt x="42" y="42"/>
                  </a:cubicBezTo>
                  <a:cubicBezTo>
                    <a:pt x="41" y="43"/>
                    <a:pt x="39" y="44"/>
                    <a:pt x="38" y="44"/>
                  </a:cubicBezTo>
                  <a:close/>
                </a:path>
              </a:pathLst>
            </a:custGeom>
            <a:solidFill>
              <a:srgbClr val="585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rgbClr val="1D1D1A"/>
                </a:solidFill>
              </a:endParaRPr>
            </a:p>
          </p:txBody>
        </p:sp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id="{C03B2734-2619-4A27-9D4B-8CFFB175C0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3900" y="7165975"/>
              <a:ext cx="46038" cy="215900"/>
            </a:xfrm>
            <a:custGeom>
              <a:avLst/>
              <a:gdLst>
                <a:gd name="T0" fmla="*/ 6 w 12"/>
                <a:gd name="T1" fmla="*/ 57 h 57"/>
                <a:gd name="T2" fmla="*/ 0 w 12"/>
                <a:gd name="T3" fmla="*/ 51 h 57"/>
                <a:gd name="T4" fmla="*/ 0 w 12"/>
                <a:gd name="T5" fmla="*/ 5 h 57"/>
                <a:gd name="T6" fmla="*/ 6 w 12"/>
                <a:gd name="T7" fmla="*/ 0 h 57"/>
                <a:gd name="T8" fmla="*/ 6 w 12"/>
                <a:gd name="T9" fmla="*/ 0 h 57"/>
                <a:gd name="T10" fmla="*/ 12 w 12"/>
                <a:gd name="T11" fmla="*/ 5 h 57"/>
                <a:gd name="T12" fmla="*/ 12 w 12"/>
                <a:gd name="T13" fmla="*/ 51 h 57"/>
                <a:gd name="T14" fmla="*/ 6 w 12"/>
                <a:gd name="T15" fmla="*/ 57 h 57"/>
                <a:gd name="T16" fmla="*/ 6 w 12"/>
                <a:gd name="T1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57">
                  <a:moveTo>
                    <a:pt x="6" y="57"/>
                  </a:moveTo>
                  <a:cubicBezTo>
                    <a:pt x="3" y="57"/>
                    <a:pt x="0" y="54"/>
                    <a:pt x="0" y="51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9" y="0"/>
                    <a:pt x="12" y="2"/>
                    <a:pt x="12" y="5"/>
                  </a:cubicBezTo>
                  <a:cubicBezTo>
                    <a:pt x="12" y="51"/>
                    <a:pt x="12" y="51"/>
                    <a:pt x="12" y="51"/>
                  </a:cubicBezTo>
                  <a:cubicBezTo>
                    <a:pt x="12" y="54"/>
                    <a:pt x="9" y="57"/>
                    <a:pt x="6" y="57"/>
                  </a:cubicBezTo>
                  <a:cubicBezTo>
                    <a:pt x="6" y="57"/>
                    <a:pt x="6" y="57"/>
                    <a:pt x="6" y="57"/>
                  </a:cubicBezTo>
                  <a:close/>
                </a:path>
              </a:pathLst>
            </a:custGeom>
            <a:solidFill>
              <a:srgbClr val="585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rgbClr val="1D1D1A"/>
                </a:solidFill>
              </a:endParaRPr>
            </a:p>
          </p:txBody>
        </p:sp>
        <p:sp>
          <p:nvSpPr>
            <p:cNvPr id="15" name="Freeform 15">
              <a:extLst>
                <a:ext uri="{FF2B5EF4-FFF2-40B4-BE49-F238E27FC236}">
                  <a16:creationId xmlns:a16="http://schemas.microsoft.com/office/drawing/2014/main" id="{990F79A5-77FB-4065-9240-4603827F73A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3775" y="7321550"/>
              <a:ext cx="171450" cy="169863"/>
            </a:xfrm>
            <a:custGeom>
              <a:avLst/>
              <a:gdLst>
                <a:gd name="T0" fmla="*/ 6 w 45"/>
                <a:gd name="T1" fmla="*/ 45 h 45"/>
                <a:gd name="T2" fmla="*/ 3 w 45"/>
                <a:gd name="T3" fmla="*/ 43 h 45"/>
                <a:gd name="T4" fmla="*/ 3 w 45"/>
                <a:gd name="T5" fmla="*/ 34 h 45"/>
                <a:gd name="T6" fmla="*/ 34 w 45"/>
                <a:gd name="T7" fmla="*/ 3 h 45"/>
                <a:gd name="T8" fmla="*/ 43 w 45"/>
                <a:gd name="T9" fmla="*/ 3 h 45"/>
                <a:gd name="T10" fmla="*/ 43 w 45"/>
                <a:gd name="T11" fmla="*/ 11 h 45"/>
                <a:gd name="T12" fmla="*/ 11 w 45"/>
                <a:gd name="T13" fmla="*/ 43 h 45"/>
                <a:gd name="T14" fmla="*/ 6 w 45"/>
                <a:gd name="T15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45">
                  <a:moveTo>
                    <a:pt x="6" y="45"/>
                  </a:moveTo>
                  <a:cubicBezTo>
                    <a:pt x="5" y="45"/>
                    <a:pt x="4" y="44"/>
                    <a:pt x="3" y="43"/>
                  </a:cubicBezTo>
                  <a:cubicBezTo>
                    <a:pt x="1" y="40"/>
                    <a:pt x="0" y="37"/>
                    <a:pt x="3" y="34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7" y="0"/>
                    <a:pt x="40" y="0"/>
                    <a:pt x="43" y="3"/>
                  </a:cubicBezTo>
                  <a:cubicBezTo>
                    <a:pt x="45" y="5"/>
                    <a:pt x="45" y="9"/>
                    <a:pt x="43" y="11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0" y="44"/>
                    <a:pt x="8" y="45"/>
                    <a:pt x="6" y="45"/>
                  </a:cubicBezTo>
                  <a:close/>
                </a:path>
              </a:pathLst>
            </a:custGeom>
            <a:solidFill>
              <a:srgbClr val="585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rgbClr val="1D1D1A"/>
                </a:solidFill>
              </a:endParaRPr>
            </a:p>
          </p:txBody>
        </p:sp>
        <p:sp>
          <p:nvSpPr>
            <p:cNvPr id="16" name="Freeform 16">
              <a:extLst>
                <a:ext uri="{FF2B5EF4-FFF2-40B4-BE49-F238E27FC236}">
                  <a16:creationId xmlns:a16="http://schemas.microsoft.com/office/drawing/2014/main" id="{622CFB92-1599-4C74-94BC-D59003CA35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1250" y="7712075"/>
              <a:ext cx="214313" cy="49213"/>
            </a:xfrm>
            <a:custGeom>
              <a:avLst/>
              <a:gdLst>
                <a:gd name="T0" fmla="*/ 6 w 56"/>
                <a:gd name="T1" fmla="*/ 13 h 13"/>
                <a:gd name="T2" fmla="*/ 0 w 56"/>
                <a:gd name="T3" fmla="*/ 7 h 13"/>
                <a:gd name="T4" fmla="*/ 6 w 56"/>
                <a:gd name="T5" fmla="*/ 1 h 13"/>
                <a:gd name="T6" fmla="*/ 50 w 56"/>
                <a:gd name="T7" fmla="*/ 0 h 13"/>
                <a:gd name="T8" fmla="*/ 50 w 56"/>
                <a:gd name="T9" fmla="*/ 0 h 13"/>
                <a:gd name="T10" fmla="*/ 56 w 56"/>
                <a:gd name="T11" fmla="*/ 6 h 13"/>
                <a:gd name="T12" fmla="*/ 50 w 56"/>
                <a:gd name="T13" fmla="*/ 12 h 13"/>
                <a:gd name="T14" fmla="*/ 6 w 56"/>
                <a:gd name="T15" fmla="*/ 13 h 13"/>
                <a:gd name="T16" fmla="*/ 6 w 56"/>
                <a:gd name="T1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13">
                  <a:moveTo>
                    <a:pt x="6" y="13"/>
                  </a:moveTo>
                  <a:cubicBezTo>
                    <a:pt x="2" y="13"/>
                    <a:pt x="0" y="10"/>
                    <a:pt x="0" y="7"/>
                  </a:cubicBezTo>
                  <a:cubicBezTo>
                    <a:pt x="0" y="4"/>
                    <a:pt x="2" y="1"/>
                    <a:pt x="6" y="1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4" y="0"/>
                    <a:pt x="56" y="3"/>
                    <a:pt x="56" y="6"/>
                  </a:cubicBezTo>
                  <a:cubicBezTo>
                    <a:pt x="56" y="10"/>
                    <a:pt x="54" y="12"/>
                    <a:pt x="50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lose/>
                </a:path>
              </a:pathLst>
            </a:custGeom>
            <a:solidFill>
              <a:srgbClr val="585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rgbClr val="1D1D1A"/>
                </a:solidFill>
              </a:endParaRPr>
            </a:p>
          </p:txBody>
        </p:sp>
        <p:sp>
          <p:nvSpPr>
            <p:cNvPr id="17" name="Freeform 17">
              <a:extLst>
                <a:ext uri="{FF2B5EF4-FFF2-40B4-BE49-F238E27FC236}">
                  <a16:creationId xmlns:a16="http://schemas.microsoft.com/office/drawing/2014/main" id="{5F9E32BF-9EF4-4C93-8C4B-FA90ADC469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4075" y="7940675"/>
              <a:ext cx="131763" cy="109538"/>
            </a:xfrm>
            <a:custGeom>
              <a:avLst/>
              <a:gdLst>
                <a:gd name="T0" fmla="*/ 5 w 35"/>
                <a:gd name="T1" fmla="*/ 29 h 29"/>
                <a:gd name="T2" fmla="*/ 0 w 35"/>
                <a:gd name="T3" fmla="*/ 18 h 29"/>
                <a:gd name="T4" fmla="*/ 27 w 35"/>
                <a:gd name="T5" fmla="*/ 0 h 29"/>
                <a:gd name="T6" fmla="*/ 35 w 35"/>
                <a:gd name="T7" fmla="*/ 7 h 29"/>
                <a:gd name="T8" fmla="*/ 5 w 35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9">
                  <a:moveTo>
                    <a:pt x="5" y="29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10" y="14"/>
                    <a:pt x="19" y="7"/>
                    <a:pt x="27" y="0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27" y="17"/>
                    <a:pt x="16" y="25"/>
                    <a:pt x="5" y="29"/>
                  </a:cubicBezTo>
                  <a:close/>
                </a:path>
              </a:pathLst>
            </a:custGeom>
            <a:solidFill>
              <a:srgbClr val="585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rgbClr val="1D1D1A"/>
                </a:solidFill>
              </a:endParaRPr>
            </a:p>
          </p:txBody>
        </p:sp>
        <p:sp>
          <p:nvSpPr>
            <p:cNvPr id="18" name="Freeform 18">
              <a:extLst>
                <a:ext uri="{FF2B5EF4-FFF2-40B4-BE49-F238E27FC236}">
                  <a16:creationId xmlns:a16="http://schemas.microsoft.com/office/drawing/2014/main" id="{8C325992-6248-414E-A385-6259769A43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7038" y="7431088"/>
              <a:ext cx="642938" cy="619125"/>
            </a:xfrm>
            <a:custGeom>
              <a:avLst/>
              <a:gdLst>
                <a:gd name="T0" fmla="*/ 53 w 169"/>
                <a:gd name="T1" fmla="*/ 163 h 163"/>
                <a:gd name="T2" fmla="*/ 0 w 169"/>
                <a:gd name="T3" fmla="*/ 84 h 163"/>
                <a:gd name="T4" fmla="*/ 84 w 169"/>
                <a:gd name="T5" fmla="*/ 0 h 163"/>
                <a:gd name="T6" fmla="*/ 169 w 169"/>
                <a:gd name="T7" fmla="*/ 84 h 163"/>
                <a:gd name="T8" fmla="*/ 167 w 169"/>
                <a:gd name="T9" fmla="*/ 102 h 163"/>
                <a:gd name="T10" fmla="*/ 156 w 169"/>
                <a:gd name="T11" fmla="*/ 100 h 163"/>
                <a:gd name="T12" fmla="*/ 157 w 169"/>
                <a:gd name="T13" fmla="*/ 84 h 163"/>
                <a:gd name="T14" fmla="*/ 84 w 169"/>
                <a:gd name="T15" fmla="*/ 11 h 163"/>
                <a:gd name="T16" fmla="*/ 11 w 169"/>
                <a:gd name="T17" fmla="*/ 84 h 163"/>
                <a:gd name="T18" fmla="*/ 57 w 169"/>
                <a:gd name="T19" fmla="*/ 152 h 163"/>
                <a:gd name="T20" fmla="*/ 53 w 169"/>
                <a:gd name="T21" fmla="*/ 163 h 163"/>
                <a:gd name="T22" fmla="*/ 53 w 169"/>
                <a:gd name="T23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9" h="163">
                  <a:moveTo>
                    <a:pt x="53" y="163"/>
                  </a:moveTo>
                  <a:cubicBezTo>
                    <a:pt x="21" y="150"/>
                    <a:pt x="0" y="119"/>
                    <a:pt x="0" y="84"/>
                  </a:cubicBezTo>
                  <a:cubicBezTo>
                    <a:pt x="0" y="38"/>
                    <a:pt x="38" y="0"/>
                    <a:pt x="84" y="0"/>
                  </a:cubicBezTo>
                  <a:cubicBezTo>
                    <a:pt x="131" y="0"/>
                    <a:pt x="169" y="38"/>
                    <a:pt x="169" y="84"/>
                  </a:cubicBezTo>
                  <a:cubicBezTo>
                    <a:pt x="169" y="91"/>
                    <a:pt x="168" y="96"/>
                    <a:pt x="167" y="102"/>
                  </a:cubicBezTo>
                  <a:cubicBezTo>
                    <a:pt x="156" y="100"/>
                    <a:pt x="156" y="100"/>
                    <a:pt x="156" y="100"/>
                  </a:cubicBezTo>
                  <a:cubicBezTo>
                    <a:pt x="157" y="95"/>
                    <a:pt x="157" y="89"/>
                    <a:pt x="157" y="84"/>
                  </a:cubicBezTo>
                  <a:cubicBezTo>
                    <a:pt x="157" y="44"/>
                    <a:pt x="125" y="11"/>
                    <a:pt x="84" y="11"/>
                  </a:cubicBezTo>
                  <a:cubicBezTo>
                    <a:pt x="44" y="11"/>
                    <a:pt x="11" y="44"/>
                    <a:pt x="11" y="84"/>
                  </a:cubicBezTo>
                  <a:cubicBezTo>
                    <a:pt x="11" y="115"/>
                    <a:pt x="29" y="141"/>
                    <a:pt x="57" y="152"/>
                  </a:cubicBezTo>
                  <a:cubicBezTo>
                    <a:pt x="53" y="163"/>
                    <a:pt x="53" y="163"/>
                    <a:pt x="53" y="163"/>
                  </a:cubicBezTo>
                  <a:cubicBezTo>
                    <a:pt x="53" y="163"/>
                    <a:pt x="53" y="163"/>
                    <a:pt x="53" y="163"/>
                  </a:cubicBezTo>
                  <a:close/>
                </a:path>
              </a:pathLst>
            </a:custGeom>
            <a:solidFill>
              <a:srgbClr val="585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rgbClr val="1D1D1A"/>
                </a:solidFill>
              </a:endParaRPr>
            </a:p>
          </p:txBody>
        </p:sp>
      </p:grpSp>
      <p:sp>
        <p:nvSpPr>
          <p:cNvPr id="69" name="椭圆 68">
            <a:extLst>
              <a:ext uri="{FF2B5EF4-FFF2-40B4-BE49-F238E27FC236}">
                <a16:creationId xmlns:a16="http://schemas.microsoft.com/office/drawing/2014/main" id="{4D734F61-E852-4D77-89D7-A659C3A55BF3}"/>
              </a:ext>
            </a:extLst>
          </p:cNvPr>
          <p:cNvSpPr/>
          <p:nvPr/>
        </p:nvSpPr>
        <p:spPr>
          <a:xfrm>
            <a:off x="6431761" y="4848642"/>
            <a:ext cx="941440" cy="941536"/>
          </a:xfrm>
          <a:prstGeom prst="ellipse">
            <a:avLst/>
          </a:prstGeom>
          <a:gradFill flip="none" rotWithShape="1">
            <a:gsLst>
              <a:gs pos="38000">
                <a:srgbClr val="666666">
                  <a:lumMod val="60000"/>
                  <a:lumOff val="40000"/>
                  <a:alpha val="2000"/>
                </a:srgbClr>
              </a:gs>
              <a:gs pos="100000">
                <a:srgbClr val="666666">
                  <a:lumMod val="60000"/>
                  <a:lumOff val="40000"/>
                  <a:alpha val="15000"/>
                </a:srgbClr>
              </a:gs>
            </a:gsLst>
            <a:path path="shape">
              <a:fillToRect l="50000" t="50000" r="50000" b="50000"/>
            </a:path>
            <a:tileRect/>
          </a:gradFill>
          <a:ln w="6350" cap="flat" cmpd="sng" algn="ctr">
            <a:gradFill flip="none" rotWithShape="1">
              <a:gsLst>
                <a:gs pos="0">
                  <a:srgbClr val="666666">
                    <a:lumMod val="60000"/>
                    <a:lumOff val="40000"/>
                    <a:alpha val="80000"/>
                  </a:srgbClr>
                </a:gs>
                <a:gs pos="100000">
                  <a:srgbClr val="666666">
                    <a:lumMod val="60000"/>
                    <a:lumOff val="40000"/>
                    <a:alpha val="40000"/>
                  </a:srgbClr>
                </a:gs>
              </a:gsLst>
              <a:lin ang="0" scaled="0"/>
              <a:tileRect/>
            </a:gra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0" tIns="0" rIns="0" bIns="0" anchor="ctr" anchorCtr="1"/>
          <a:lstStyle/>
          <a:p>
            <a:pPr algn="ctr" defTabSz="914355"/>
            <a:endParaRPr lang="zh-CN" altLang="en-US" sz="1200" b="1" kern="0" spc="50">
              <a:solidFill>
                <a:sysClr val="windowText" lastClr="000000"/>
              </a:solidFill>
              <a:cs typeface="Arial" pitchFamily="34" charset="0"/>
            </a:endParaRPr>
          </a:p>
        </p:txBody>
      </p:sp>
      <p:grpSp>
        <p:nvGrpSpPr>
          <p:cNvPr id="70" name="组合 460">
            <a:extLst>
              <a:ext uri="{FF2B5EF4-FFF2-40B4-BE49-F238E27FC236}">
                <a16:creationId xmlns:a16="http://schemas.microsoft.com/office/drawing/2014/main" id="{7435501A-9285-43C0-B53B-6AE8B1EE4500}"/>
              </a:ext>
            </a:extLst>
          </p:cNvPr>
          <p:cNvGrpSpPr>
            <a:grpSpLocks/>
          </p:cNvGrpSpPr>
          <p:nvPr/>
        </p:nvGrpSpPr>
        <p:grpSpPr bwMode="auto">
          <a:xfrm>
            <a:off x="6680418" y="5079280"/>
            <a:ext cx="444126" cy="480261"/>
            <a:chOff x="714376" y="584201"/>
            <a:chExt cx="493713" cy="534988"/>
          </a:xfrm>
        </p:grpSpPr>
        <p:sp>
          <p:nvSpPr>
            <p:cNvPr id="71" name="Oval 473">
              <a:extLst>
                <a:ext uri="{FF2B5EF4-FFF2-40B4-BE49-F238E27FC236}">
                  <a16:creationId xmlns:a16="http://schemas.microsoft.com/office/drawing/2014/main" id="{62A640D3-8389-4025-BAF5-4062D7EE8C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6476" y="1063626"/>
              <a:ext cx="55563" cy="55563"/>
            </a:xfrm>
            <a:prstGeom prst="ellipse">
              <a:avLst/>
            </a:prstGeom>
            <a:solidFill>
              <a:srgbClr val="595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21704" tIns="60852" rIns="121704" bIns="60852"/>
            <a:lstStyle>
              <a:lvl1pPr>
                <a:defRPr kumimoji="1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4540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4540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4540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4540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 sz="2139">
                <a:solidFill>
                  <a:srgbClr val="1D1D1A"/>
                </a:solidFill>
              </a:endParaRPr>
            </a:p>
          </p:txBody>
        </p:sp>
        <p:sp>
          <p:nvSpPr>
            <p:cNvPr id="72" name="Oval 474">
              <a:extLst>
                <a:ext uri="{FF2B5EF4-FFF2-40B4-BE49-F238E27FC236}">
                  <a16:creationId xmlns:a16="http://schemas.microsoft.com/office/drawing/2014/main" id="{2B6AD736-5F0B-4737-B909-1B2E633D03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0613" y="1063626"/>
              <a:ext cx="53975" cy="55563"/>
            </a:xfrm>
            <a:prstGeom prst="ellipse">
              <a:avLst/>
            </a:prstGeom>
            <a:solidFill>
              <a:srgbClr val="595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21704" tIns="60852" rIns="121704" bIns="60852"/>
            <a:lstStyle>
              <a:lvl1pPr>
                <a:defRPr kumimoji="1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4540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4540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4540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454025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endParaRPr lang="zh-CN" altLang="en-US" sz="2139">
                <a:solidFill>
                  <a:srgbClr val="1D1D1A"/>
                </a:solidFill>
              </a:endParaRPr>
            </a:p>
          </p:txBody>
        </p:sp>
        <p:sp>
          <p:nvSpPr>
            <p:cNvPr id="73" name="Freeform 475">
              <a:extLst>
                <a:ext uri="{FF2B5EF4-FFF2-40B4-BE49-F238E27FC236}">
                  <a16:creationId xmlns:a16="http://schemas.microsoft.com/office/drawing/2014/main" id="{0AF4CBFC-D5A8-464F-B838-5A48D1883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376" y="584201"/>
              <a:ext cx="493713" cy="517525"/>
            </a:xfrm>
            <a:custGeom>
              <a:avLst/>
              <a:gdLst>
                <a:gd name="T0" fmla="*/ 2147483646 w 366"/>
                <a:gd name="T1" fmla="*/ 2147483646 h 385"/>
                <a:gd name="T2" fmla="*/ 2147483646 w 366"/>
                <a:gd name="T3" fmla="*/ 2147483646 h 385"/>
                <a:gd name="T4" fmla="*/ 2147483646 w 366"/>
                <a:gd name="T5" fmla="*/ 2147483646 h 385"/>
                <a:gd name="T6" fmla="*/ 2147483646 w 366"/>
                <a:gd name="T7" fmla="*/ 2147483646 h 385"/>
                <a:gd name="T8" fmla="*/ 2147483646 w 366"/>
                <a:gd name="T9" fmla="*/ 2147483646 h 385"/>
                <a:gd name="T10" fmla="*/ 2147483646 w 366"/>
                <a:gd name="T11" fmla="*/ 2147483646 h 385"/>
                <a:gd name="T12" fmla="*/ 2147483646 w 366"/>
                <a:gd name="T13" fmla="*/ 2147483646 h 385"/>
                <a:gd name="T14" fmla="*/ 2147483646 w 366"/>
                <a:gd name="T15" fmla="*/ 2147483646 h 385"/>
                <a:gd name="T16" fmla="*/ 2147483646 w 366"/>
                <a:gd name="T17" fmla="*/ 2147483646 h 385"/>
                <a:gd name="T18" fmla="*/ 2147483646 w 366"/>
                <a:gd name="T19" fmla="*/ 2147483646 h 385"/>
                <a:gd name="T20" fmla="*/ 2147483646 w 366"/>
                <a:gd name="T21" fmla="*/ 2147483646 h 385"/>
                <a:gd name="T22" fmla="*/ 2147483646 w 366"/>
                <a:gd name="T23" fmla="*/ 2147483646 h 385"/>
                <a:gd name="T24" fmla="*/ 2147483646 w 366"/>
                <a:gd name="T25" fmla="*/ 2147483646 h 385"/>
                <a:gd name="T26" fmla="*/ 2147483646 w 366"/>
                <a:gd name="T27" fmla="*/ 2147483646 h 385"/>
                <a:gd name="T28" fmla="*/ 2147483646 w 366"/>
                <a:gd name="T29" fmla="*/ 2147483646 h 385"/>
                <a:gd name="T30" fmla="*/ 2147483646 w 366"/>
                <a:gd name="T31" fmla="*/ 2147483646 h 385"/>
                <a:gd name="T32" fmla="*/ 2147483646 w 366"/>
                <a:gd name="T33" fmla="*/ 2147483646 h 385"/>
                <a:gd name="T34" fmla="*/ 2147483646 w 366"/>
                <a:gd name="T35" fmla="*/ 2147483646 h 385"/>
                <a:gd name="T36" fmla="*/ 2147483646 w 366"/>
                <a:gd name="T37" fmla="*/ 2147483646 h 385"/>
                <a:gd name="T38" fmla="*/ 2147483646 w 366"/>
                <a:gd name="T39" fmla="*/ 2147483646 h 385"/>
                <a:gd name="T40" fmla="*/ 2147483646 w 366"/>
                <a:gd name="T41" fmla="*/ 2147483646 h 385"/>
                <a:gd name="T42" fmla="*/ 2147483646 w 366"/>
                <a:gd name="T43" fmla="*/ 2147483646 h 385"/>
                <a:gd name="T44" fmla="*/ 2147483646 w 366"/>
                <a:gd name="T45" fmla="*/ 2147483646 h 385"/>
                <a:gd name="T46" fmla="*/ 2147483646 w 366"/>
                <a:gd name="T47" fmla="*/ 2147483646 h 385"/>
                <a:gd name="T48" fmla="*/ 2147483646 w 366"/>
                <a:gd name="T49" fmla="*/ 2147483646 h 385"/>
                <a:gd name="T50" fmla="*/ 2147483646 w 366"/>
                <a:gd name="T51" fmla="*/ 2147483646 h 385"/>
                <a:gd name="T52" fmla="*/ 0 w 366"/>
                <a:gd name="T53" fmla="*/ 2147483646 h 385"/>
                <a:gd name="T54" fmla="*/ 0 w 366"/>
                <a:gd name="T55" fmla="*/ 2147483646 h 385"/>
                <a:gd name="T56" fmla="*/ 2147483646 w 366"/>
                <a:gd name="T57" fmla="*/ 2147483646 h 385"/>
                <a:gd name="T58" fmla="*/ 2147483646 w 366"/>
                <a:gd name="T59" fmla="*/ 2147483646 h 385"/>
                <a:gd name="T60" fmla="*/ 2147483646 w 366"/>
                <a:gd name="T61" fmla="*/ 2147483646 h 385"/>
                <a:gd name="T62" fmla="*/ 2147483646 w 366"/>
                <a:gd name="T63" fmla="*/ 2147483646 h 385"/>
                <a:gd name="T64" fmla="*/ 2147483646 w 366"/>
                <a:gd name="T65" fmla="*/ 2147483646 h 385"/>
                <a:gd name="T66" fmla="*/ 2147483646 w 366"/>
                <a:gd name="T67" fmla="*/ 2147483646 h 385"/>
                <a:gd name="T68" fmla="*/ 2147483646 w 366"/>
                <a:gd name="T69" fmla="*/ 2147483646 h 385"/>
                <a:gd name="T70" fmla="*/ 2147483646 w 366"/>
                <a:gd name="T71" fmla="*/ 2147483646 h 385"/>
                <a:gd name="T72" fmla="*/ 2147483646 w 366"/>
                <a:gd name="T73" fmla="*/ 2147483646 h 385"/>
                <a:gd name="T74" fmla="*/ 2147483646 w 366"/>
                <a:gd name="T75" fmla="*/ 2147483646 h 385"/>
                <a:gd name="T76" fmla="*/ 2147483646 w 366"/>
                <a:gd name="T77" fmla="*/ 2147483646 h 385"/>
                <a:gd name="T78" fmla="*/ 2147483646 w 366"/>
                <a:gd name="T79" fmla="*/ 2147483646 h 385"/>
                <a:gd name="T80" fmla="*/ 2147483646 w 366"/>
                <a:gd name="T81" fmla="*/ 2147483646 h 385"/>
                <a:gd name="T82" fmla="*/ 2147483646 w 366"/>
                <a:gd name="T83" fmla="*/ 2147483646 h 385"/>
                <a:gd name="T84" fmla="*/ 2147483646 w 366"/>
                <a:gd name="T85" fmla="*/ 2147483646 h 385"/>
                <a:gd name="T86" fmla="*/ 2147483646 w 366"/>
                <a:gd name="T87" fmla="*/ 0 h 385"/>
                <a:gd name="T88" fmla="*/ 2147483646 w 366"/>
                <a:gd name="T89" fmla="*/ 0 h 385"/>
                <a:gd name="T90" fmla="*/ 2147483646 w 366"/>
                <a:gd name="T91" fmla="*/ 2147483646 h 385"/>
                <a:gd name="T92" fmla="*/ 2147483646 w 366"/>
                <a:gd name="T93" fmla="*/ 2147483646 h 385"/>
                <a:gd name="T94" fmla="*/ 2147483646 w 366"/>
                <a:gd name="T95" fmla="*/ 2147483646 h 38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66"/>
                <a:gd name="T145" fmla="*/ 0 h 385"/>
                <a:gd name="T146" fmla="*/ 366 w 366"/>
                <a:gd name="T147" fmla="*/ 385 h 38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66" h="385">
                  <a:moveTo>
                    <a:pt x="357" y="385"/>
                  </a:moveTo>
                  <a:cubicBezTo>
                    <a:pt x="299" y="385"/>
                    <a:pt x="299" y="385"/>
                    <a:pt x="299" y="385"/>
                  </a:cubicBezTo>
                  <a:cubicBezTo>
                    <a:pt x="294" y="385"/>
                    <a:pt x="290" y="381"/>
                    <a:pt x="290" y="376"/>
                  </a:cubicBezTo>
                  <a:cubicBezTo>
                    <a:pt x="290" y="371"/>
                    <a:pt x="294" y="367"/>
                    <a:pt x="299" y="367"/>
                  </a:cubicBezTo>
                  <a:cubicBezTo>
                    <a:pt x="348" y="367"/>
                    <a:pt x="348" y="367"/>
                    <a:pt x="348" y="367"/>
                  </a:cubicBezTo>
                  <a:cubicBezTo>
                    <a:pt x="348" y="18"/>
                    <a:pt x="348" y="18"/>
                    <a:pt x="348" y="18"/>
                  </a:cubicBezTo>
                  <a:cubicBezTo>
                    <a:pt x="306" y="18"/>
                    <a:pt x="306" y="18"/>
                    <a:pt x="306" y="18"/>
                  </a:cubicBezTo>
                  <a:cubicBezTo>
                    <a:pt x="293" y="214"/>
                    <a:pt x="293" y="214"/>
                    <a:pt x="293" y="214"/>
                  </a:cubicBezTo>
                  <a:cubicBezTo>
                    <a:pt x="293" y="219"/>
                    <a:pt x="289" y="223"/>
                    <a:pt x="284" y="223"/>
                  </a:cubicBezTo>
                  <a:cubicBezTo>
                    <a:pt x="262" y="223"/>
                    <a:pt x="262" y="223"/>
                    <a:pt x="262" y="223"/>
                  </a:cubicBezTo>
                  <a:cubicBezTo>
                    <a:pt x="257" y="223"/>
                    <a:pt x="253" y="219"/>
                    <a:pt x="253" y="214"/>
                  </a:cubicBezTo>
                  <a:cubicBezTo>
                    <a:pt x="253" y="180"/>
                    <a:pt x="253" y="180"/>
                    <a:pt x="253" y="180"/>
                  </a:cubicBezTo>
                  <a:cubicBezTo>
                    <a:pt x="182" y="222"/>
                    <a:pt x="182" y="222"/>
                    <a:pt x="182" y="222"/>
                  </a:cubicBezTo>
                  <a:cubicBezTo>
                    <a:pt x="180" y="223"/>
                    <a:pt x="176" y="223"/>
                    <a:pt x="173" y="222"/>
                  </a:cubicBezTo>
                  <a:cubicBezTo>
                    <a:pt x="171" y="220"/>
                    <a:pt x="169" y="217"/>
                    <a:pt x="169" y="214"/>
                  </a:cubicBezTo>
                  <a:cubicBezTo>
                    <a:pt x="169" y="180"/>
                    <a:pt x="169" y="180"/>
                    <a:pt x="169" y="180"/>
                  </a:cubicBezTo>
                  <a:cubicBezTo>
                    <a:pt x="98" y="222"/>
                    <a:pt x="98" y="222"/>
                    <a:pt x="98" y="222"/>
                  </a:cubicBezTo>
                  <a:cubicBezTo>
                    <a:pt x="95" y="223"/>
                    <a:pt x="92" y="223"/>
                    <a:pt x="89" y="222"/>
                  </a:cubicBezTo>
                  <a:cubicBezTo>
                    <a:pt x="86" y="220"/>
                    <a:pt x="84" y="217"/>
                    <a:pt x="84" y="214"/>
                  </a:cubicBezTo>
                  <a:cubicBezTo>
                    <a:pt x="84" y="180"/>
                    <a:pt x="84" y="180"/>
                    <a:pt x="84" y="180"/>
                  </a:cubicBezTo>
                  <a:cubicBezTo>
                    <a:pt x="18" y="219"/>
                    <a:pt x="18" y="219"/>
                    <a:pt x="18" y="219"/>
                  </a:cubicBezTo>
                  <a:cubicBezTo>
                    <a:pt x="18" y="367"/>
                    <a:pt x="18" y="367"/>
                    <a:pt x="18" y="367"/>
                  </a:cubicBezTo>
                  <a:cubicBezTo>
                    <a:pt x="239" y="367"/>
                    <a:pt x="239" y="367"/>
                    <a:pt x="239" y="367"/>
                  </a:cubicBezTo>
                  <a:cubicBezTo>
                    <a:pt x="244" y="367"/>
                    <a:pt x="248" y="371"/>
                    <a:pt x="248" y="376"/>
                  </a:cubicBezTo>
                  <a:cubicBezTo>
                    <a:pt x="248" y="381"/>
                    <a:pt x="244" y="385"/>
                    <a:pt x="239" y="385"/>
                  </a:cubicBezTo>
                  <a:cubicBezTo>
                    <a:pt x="9" y="385"/>
                    <a:pt x="9" y="385"/>
                    <a:pt x="9" y="385"/>
                  </a:cubicBezTo>
                  <a:cubicBezTo>
                    <a:pt x="4" y="385"/>
                    <a:pt x="0" y="381"/>
                    <a:pt x="0" y="376"/>
                  </a:cubicBezTo>
                  <a:cubicBezTo>
                    <a:pt x="0" y="214"/>
                    <a:pt x="0" y="214"/>
                    <a:pt x="0" y="214"/>
                  </a:cubicBezTo>
                  <a:cubicBezTo>
                    <a:pt x="0" y="211"/>
                    <a:pt x="1" y="208"/>
                    <a:pt x="4" y="206"/>
                  </a:cubicBezTo>
                  <a:cubicBezTo>
                    <a:pt x="89" y="156"/>
                    <a:pt x="89" y="156"/>
                    <a:pt x="89" y="156"/>
                  </a:cubicBezTo>
                  <a:cubicBezTo>
                    <a:pt x="92" y="154"/>
                    <a:pt x="95" y="154"/>
                    <a:pt x="98" y="156"/>
                  </a:cubicBezTo>
                  <a:cubicBezTo>
                    <a:pt x="101" y="158"/>
                    <a:pt x="102" y="161"/>
                    <a:pt x="102" y="164"/>
                  </a:cubicBezTo>
                  <a:cubicBezTo>
                    <a:pt x="102" y="198"/>
                    <a:pt x="102" y="198"/>
                    <a:pt x="102" y="198"/>
                  </a:cubicBezTo>
                  <a:cubicBezTo>
                    <a:pt x="173" y="156"/>
                    <a:pt x="173" y="156"/>
                    <a:pt x="173" y="156"/>
                  </a:cubicBezTo>
                  <a:cubicBezTo>
                    <a:pt x="176" y="154"/>
                    <a:pt x="180" y="154"/>
                    <a:pt x="182" y="156"/>
                  </a:cubicBezTo>
                  <a:cubicBezTo>
                    <a:pt x="185" y="158"/>
                    <a:pt x="187" y="161"/>
                    <a:pt x="187" y="164"/>
                  </a:cubicBezTo>
                  <a:cubicBezTo>
                    <a:pt x="187" y="198"/>
                    <a:pt x="187" y="198"/>
                    <a:pt x="187" y="198"/>
                  </a:cubicBezTo>
                  <a:cubicBezTo>
                    <a:pt x="258" y="156"/>
                    <a:pt x="258" y="156"/>
                    <a:pt x="258" y="156"/>
                  </a:cubicBezTo>
                  <a:cubicBezTo>
                    <a:pt x="261" y="154"/>
                    <a:pt x="264" y="154"/>
                    <a:pt x="267" y="156"/>
                  </a:cubicBezTo>
                  <a:cubicBezTo>
                    <a:pt x="270" y="158"/>
                    <a:pt x="271" y="161"/>
                    <a:pt x="271" y="164"/>
                  </a:cubicBezTo>
                  <a:cubicBezTo>
                    <a:pt x="271" y="205"/>
                    <a:pt x="271" y="205"/>
                    <a:pt x="271" y="205"/>
                  </a:cubicBezTo>
                  <a:cubicBezTo>
                    <a:pt x="276" y="205"/>
                    <a:pt x="276" y="205"/>
                    <a:pt x="276" y="205"/>
                  </a:cubicBezTo>
                  <a:cubicBezTo>
                    <a:pt x="289" y="8"/>
                    <a:pt x="289" y="8"/>
                    <a:pt x="289" y="8"/>
                  </a:cubicBezTo>
                  <a:cubicBezTo>
                    <a:pt x="289" y="3"/>
                    <a:pt x="293" y="0"/>
                    <a:pt x="298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362" y="0"/>
                    <a:pt x="366" y="4"/>
                    <a:pt x="366" y="9"/>
                  </a:cubicBezTo>
                  <a:cubicBezTo>
                    <a:pt x="366" y="376"/>
                    <a:pt x="366" y="376"/>
                    <a:pt x="366" y="376"/>
                  </a:cubicBezTo>
                  <a:cubicBezTo>
                    <a:pt x="366" y="381"/>
                    <a:pt x="362" y="385"/>
                    <a:pt x="357" y="385"/>
                  </a:cubicBezTo>
                  <a:close/>
                </a:path>
              </a:pathLst>
            </a:custGeom>
            <a:solidFill>
              <a:srgbClr val="595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21704" tIns="60852" rIns="121704" bIns="60852"/>
            <a:lstStyle/>
            <a:p>
              <a:endParaRPr lang="zh-CN" altLang="en-US" sz="2139">
                <a:solidFill>
                  <a:srgbClr val="1D1D1A"/>
                </a:solidFill>
              </a:endParaRPr>
            </a:p>
          </p:txBody>
        </p:sp>
        <p:sp>
          <p:nvSpPr>
            <p:cNvPr id="74" name="Freeform 476">
              <a:extLst>
                <a:ext uri="{FF2B5EF4-FFF2-40B4-BE49-F238E27FC236}">
                  <a16:creationId xmlns:a16="http://schemas.microsoft.com/office/drawing/2014/main" id="{1A379D92-05A5-4865-893B-7DFBA81521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3588" y="946151"/>
              <a:ext cx="100013" cy="68263"/>
            </a:xfrm>
            <a:custGeom>
              <a:avLst/>
              <a:gdLst>
                <a:gd name="T0" fmla="*/ 2147483646 w 74"/>
                <a:gd name="T1" fmla="*/ 2147483646 h 51"/>
                <a:gd name="T2" fmla="*/ 2147483646 w 74"/>
                <a:gd name="T3" fmla="*/ 2147483646 h 51"/>
                <a:gd name="T4" fmla="*/ 0 w 74"/>
                <a:gd name="T5" fmla="*/ 2147483646 h 51"/>
                <a:gd name="T6" fmla="*/ 0 w 74"/>
                <a:gd name="T7" fmla="*/ 2147483646 h 51"/>
                <a:gd name="T8" fmla="*/ 2147483646 w 74"/>
                <a:gd name="T9" fmla="*/ 0 h 51"/>
                <a:gd name="T10" fmla="*/ 2147483646 w 74"/>
                <a:gd name="T11" fmla="*/ 0 h 51"/>
                <a:gd name="T12" fmla="*/ 2147483646 w 74"/>
                <a:gd name="T13" fmla="*/ 2147483646 h 51"/>
                <a:gd name="T14" fmla="*/ 2147483646 w 74"/>
                <a:gd name="T15" fmla="*/ 2147483646 h 51"/>
                <a:gd name="T16" fmla="*/ 2147483646 w 74"/>
                <a:gd name="T17" fmla="*/ 2147483646 h 51"/>
                <a:gd name="T18" fmla="*/ 2147483646 w 74"/>
                <a:gd name="T19" fmla="*/ 2147483646 h 51"/>
                <a:gd name="T20" fmla="*/ 2147483646 w 74"/>
                <a:gd name="T21" fmla="*/ 2147483646 h 51"/>
                <a:gd name="T22" fmla="*/ 2147483646 w 74"/>
                <a:gd name="T23" fmla="*/ 2147483646 h 51"/>
                <a:gd name="T24" fmla="*/ 2147483646 w 74"/>
                <a:gd name="T25" fmla="*/ 2147483646 h 51"/>
                <a:gd name="T26" fmla="*/ 2147483646 w 74"/>
                <a:gd name="T27" fmla="*/ 2147483646 h 5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74"/>
                <a:gd name="T43" fmla="*/ 0 h 51"/>
                <a:gd name="T44" fmla="*/ 74 w 74"/>
                <a:gd name="T45" fmla="*/ 51 h 5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74" h="51">
                  <a:moveTo>
                    <a:pt x="65" y="51"/>
                  </a:moveTo>
                  <a:cubicBezTo>
                    <a:pt x="9" y="51"/>
                    <a:pt x="9" y="51"/>
                    <a:pt x="9" y="51"/>
                  </a:cubicBezTo>
                  <a:cubicBezTo>
                    <a:pt x="4" y="51"/>
                    <a:pt x="0" y="47"/>
                    <a:pt x="0" y="4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70" y="0"/>
                    <a:pt x="74" y="4"/>
                    <a:pt x="74" y="9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7"/>
                    <a:pt x="70" y="51"/>
                    <a:pt x="65" y="51"/>
                  </a:cubicBezTo>
                  <a:close/>
                  <a:moveTo>
                    <a:pt x="18" y="33"/>
                  </a:moveTo>
                  <a:cubicBezTo>
                    <a:pt x="56" y="33"/>
                    <a:pt x="56" y="33"/>
                    <a:pt x="56" y="33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18" y="18"/>
                    <a:pt x="18" y="18"/>
                    <a:pt x="18" y="18"/>
                  </a:cubicBezTo>
                  <a:lnTo>
                    <a:pt x="18" y="33"/>
                  </a:lnTo>
                  <a:close/>
                </a:path>
              </a:pathLst>
            </a:custGeom>
            <a:solidFill>
              <a:srgbClr val="595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21704" tIns="60852" rIns="121704" bIns="60852"/>
            <a:lstStyle/>
            <a:p>
              <a:endParaRPr lang="zh-CN" altLang="en-US" sz="2139">
                <a:solidFill>
                  <a:srgbClr val="1D1D1A"/>
                </a:solidFill>
              </a:endParaRPr>
            </a:p>
          </p:txBody>
        </p:sp>
        <p:sp>
          <p:nvSpPr>
            <p:cNvPr id="75" name="Freeform 477">
              <a:extLst>
                <a:ext uri="{FF2B5EF4-FFF2-40B4-BE49-F238E27FC236}">
                  <a16:creationId xmlns:a16="http://schemas.microsoft.com/office/drawing/2014/main" id="{1DB18218-44AE-420F-B1FA-73ACCE7FF8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3126" y="946151"/>
              <a:ext cx="98425" cy="68263"/>
            </a:xfrm>
            <a:custGeom>
              <a:avLst/>
              <a:gdLst>
                <a:gd name="T0" fmla="*/ 2147483646 w 74"/>
                <a:gd name="T1" fmla="*/ 2147483646 h 51"/>
                <a:gd name="T2" fmla="*/ 2147483646 w 74"/>
                <a:gd name="T3" fmla="*/ 2147483646 h 51"/>
                <a:gd name="T4" fmla="*/ 0 w 74"/>
                <a:gd name="T5" fmla="*/ 2147483646 h 51"/>
                <a:gd name="T6" fmla="*/ 0 w 74"/>
                <a:gd name="T7" fmla="*/ 2147483646 h 51"/>
                <a:gd name="T8" fmla="*/ 2147483646 w 74"/>
                <a:gd name="T9" fmla="*/ 0 h 51"/>
                <a:gd name="T10" fmla="*/ 2147483646 w 74"/>
                <a:gd name="T11" fmla="*/ 0 h 51"/>
                <a:gd name="T12" fmla="*/ 2147483646 w 74"/>
                <a:gd name="T13" fmla="*/ 2147483646 h 51"/>
                <a:gd name="T14" fmla="*/ 2147483646 w 74"/>
                <a:gd name="T15" fmla="*/ 2147483646 h 51"/>
                <a:gd name="T16" fmla="*/ 2147483646 w 74"/>
                <a:gd name="T17" fmla="*/ 2147483646 h 51"/>
                <a:gd name="T18" fmla="*/ 2147483646 w 74"/>
                <a:gd name="T19" fmla="*/ 2147483646 h 51"/>
                <a:gd name="T20" fmla="*/ 2147483646 w 74"/>
                <a:gd name="T21" fmla="*/ 2147483646 h 51"/>
                <a:gd name="T22" fmla="*/ 2147483646 w 74"/>
                <a:gd name="T23" fmla="*/ 2147483646 h 51"/>
                <a:gd name="T24" fmla="*/ 2147483646 w 74"/>
                <a:gd name="T25" fmla="*/ 2147483646 h 51"/>
                <a:gd name="T26" fmla="*/ 2147483646 w 74"/>
                <a:gd name="T27" fmla="*/ 2147483646 h 5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74"/>
                <a:gd name="T43" fmla="*/ 0 h 51"/>
                <a:gd name="T44" fmla="*/ 74 w 74"/>
                <a:gd name="T45" fmla="*/ 51 h 5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74" h="51">
                  <a:moveTo>
                    <a:pt x="65" y="51"/>
                  </a:moveTo>
                  <a:cubicBezTo>
                    <a:pt x="9" y="51"/>
                    <a:pt x="9" y="51"/>
                    <a:pt x="9" y="51"/>
                  </a:cubicBezTo>
                  <a:cubicBezTo>
                    <a:pt x="4" y="51"/>
                    <a:pt x="0" y="47"/>
                    <a:pt x="0" y="4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70" y="0"/>
                    <a:pt x="74" y="4"/>
                    <a:pt x="74" y="9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7"/>
                    <a:pt x="70" y="51"/>
                    <a:pt x="65" y="51"/>
                  </a:cubicBezTo>
                  <a:close/>
                  <a:moveTo>
                    <a:pt x="18" y="33"/>
                  </a:moveTo>
                  <a:cubicBezTo>
                    <a:pt x="56" y="33"/>
                    <a:pt x="56" y="33"/>
                    <a:pt x="56" y="33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18" y="18"/>
                    <a:pt x="18" y="18"/>
                    <a:pt x="18" y="18"/>
                  </a:cubicBezTo>
                  <a:lnTo>
                    <a:pt x="18" y="33"/>
                  </a:lnTo>
                  <a:close/>
                </a:path>
              </a:pathLst>
            </a:custGeom>
            <a:solidFill>
              <a:srgbClr val="595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21704" tIns="60852" rIns="121704" bIns="60852"/>
            <a:lstStyle/>
            <a:p>
              <a:endParaRPr lang="zh-CN" altLang="en-US" sz="2139">
                <a:solidFill>
                  <a:srgbClr val="1D1D1A"/>
                </a:solidFill>
              </a:endParaRPr>
            </a:p>
          </p:txBody>
        </p:sp>
        <p:sp>
          <p:nvSpPr>
            <p:cNvPr id="76" name="Freeform 478">
              <a:extLst>
                <a:ext uri="{FF2B5EF4-FFF2-40B4-BE49-F238E27FC236}">
                  <a16:creationId xmlns:a16="http://schemas.microsoft.com/office/drawing/2014/main" id="{D78F63B8-089D-4430-8BDA-456652D668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1076" y="946151"/>
              <a:ext cx="100013" cy="68263"/>
            </a:xfrm>
            <a:custGeom>
              <a:avLst/>
              <a:gdLst>
                <a:gd name="T0" fmla="*/ 2147483646 w 74"/>
                <a:gd name="T1" fmla="*/ 2147483646 h 51"/>
                <a:gd name="T2" fmla="*/ 2147483646 w 74"/>
                <a:gd name="T3" fmla="*/ 2147483646 h 51"/>
                <a:gd name="T4" fmla="*/ 0 w 74"/>
                <a:gd name="T5" fmla="*/ 2147483646 h 51"/>
                <a:gd name="T6" fmla="*/ 0 w 74"/>
                <a:gd name="T7" fmla="*/ 2147483646 h 51"/>
                <a:gd name="T8" fmla="*/ 2147483646 w 74"/>
                <a:gd name="T9" fmla="*/ 0 h 51"/>
                <a:gd name="T10" fmla="*/ 2147483646 w 74"/>
                <a:gd name="T11" fmla="*/ 0 h 51"/>
                <a:gd name="T12" fmla="*/ 2147483646 w 74"/>
                <a:gd name="T13" fmla="*/ 2147483646 h 51"/>
                <a:gd name="T14" fmla="*/ 2147483646 w 74"/>
                <a:gd name="T15" fmla="*/ 2147483646 h 51"/>
                <a:gd name="T16" fmla="*/ 2147483646 w 74"/>
                <a:gd name="T17" fmla="*/ 2147483646 h 51"/>
                <a:gd name="T18" fmla="*/ 2147483646 w 74"/>
                <a:gd name="T19" fmla="*/ 2147483646 h 51"/>
                <a:gd name="T20" fmla="*/ 2147483646 w 74"/>
                <a:gd name="T21" fmla="*/ 2147483646 h 51"/>
                <a:gd name="T22" fmla="*/ 2147483646 w 74"/>
                <a:gd name="T23" fmla="*/ 2147483646 h 51"/>
                <a:gd name="T24" fmla="*/ 2147483646 w 74"/>
                <a:gd name="T25" fmla="*/ 2147483646 h 51"/>
                <a:gd name="T26" fmla="*/ 2147483646 w 74"/>
                <a:gd name="T27" fmla="*/ 2147483646 h 5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74"/>
                <a:gd name="T43" fmla="*/ 0 h 51"/>
                <a:gd name="T44" fmla="*/ 74 w 74"/>
                <a:gd name="T45" fmla="*/ 51 h 5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74" h="51">
                  <a:moveTo>
                    <a:pt x="65" y="51"/>
                  </a:moveTo>
                  <a:cubicBezTo>
                    <a:pt x="9" y="51"/>
                    <a:pt x="9" y="51"/>
                    <a:pt x="9" y="51"/>
                  </a:cubicBezTo>
                  <a:cubicBezTo>
                    <a:pt x="4" y="51"/>
                    <a:pt x="0" y="47"/>
                    <a:pt x="0" y="4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70" y="0"/>
                    <a:pt x="74" y="4"/>
                    <a:pt x="74" y="9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7"/>
                    <a:pt x="70" y="51"/>
                    <a:pt x="65" y="51"/>
                  </a:cubicBezTo>
                  <a:close/>
                  <a:moveTo>
                    <a:pt x="18" y="33"/>
                  </a:moveTo>
                  <a:cubicBezTo>
                    <a:pt x="56" y="33"/>
                    <a:pt x="56" y="33"/>
                    <a:pt x="56" y="33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18" y="18"/>
                    <a:pt x="18" y="18"/>
                    <a:pt x="18" y="18"/>
                  </a:cubicBezTo>
                  <a:lnTo>
                    <a:pt x="18" y="33"/>
                  </a:lnTo>
                  <a:close/>
                </a:path>
              </a:pathLst>
            </a:custGeom>
            <a:solidFill>
              <a:srgbClr val="595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21704" tIns="60852" rIns="121704" bIns="60852"/>
            <a:lstStyle/>
            <a:p>
              <a:endParaRPr lang="zh-CN" altLang="en-US" sz="2139">
                <a:solidFill>
                  <a:srgbClr val="1D1D1A"/>
                </a:solidFill>
              </a:endParaRPr>
            </a:p>
          </p:txBody>
        </p:sp>
      </p:grpSp>
      <p:sp>
        <p:nvSpPr>
          <p:cNvPr id="78" name="椭圆 77">
            <a:extLst>
              <a:ext uri="{FF2B5EF4-FFF2-40B4-BE49-F238E27FC236}">
                <a16:creationId xmlns:a16="http://schemas.microsoft.com/office/drawing/2014/main" id="{BA334949-597D-4786-BF00-C5BC3F97FA2E}"/>
              </a:ext>
            </a:extLst>
          </p:cNvPr>
          <p:cNvSpPr/>
          <p:nvPr/>
        </p:nvSpPr>
        <p:spPr>
          <a:xfrm>
            <a:off x="9293744" y="4848642"/>
            <a:ext cx="941440" cy="941536"/>
          </a:xfrm>
          <a:prstGeom prst="ellipse">
            <a:avLst/>
          </a:prstGeom>
          <a:gradFill flip="none" rotWithShape="1">
            <a:gsLst>
              <a:gs pos="38000">
                <a:srgbClr val="666666">
                  <a:lumMod val="60000"/>
                  <a:lumOff val="40000"/>
                  <a:alpha val="2000"/>
                </a:srgbClr>
              </a:gs>
              <a:gs pos="100000">
                <a:srgbClr val="666666">
                  <a:lumMod val="60000"/>
                  <a:lumOff val="40000"/>
                  <a:alpha val="15000"/>
                </a:srgbClr>
              </a:gs>
            </a:gsLst>
            <a:path path="shape">
              <a:fillToRect l="50000" t="50000" r="50000" b="50000"/>
            </a:path>
            <a:tileRect/>
          </a:gradFill>
          <a:ln w="6350" cap="flat" cmpd="sng" algn="ctr">
            <a:gradFill flip="none" rotWithShape="1">
              <a:gsLst>
                <a:gs pos="0">
                  <a:srgbClr val="666666">
                    <a:lumMod val="60000"/>
                    <a:lumOff val="40000"/>
                    <a:alpha val="80000"/>
                  </a:srgbClr>
                </a:gs>
                <a:gs pos="100000">
                  <a:srgbClr val="666666">
                    <a:lumMod val="60000"/>
                    <a:lumOff val="40000"/>
                    <a:alpha val="40000"/>
                  </a:srgbClr>
                </a:gs>
              </a:gsLst>
              <a:lin ang="0" scaled="0"/>
              <a:tileRect/>
            </a:gra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0" tIns="0" rIns="0" bIns="0" anchor="ctr" anchorCtr="1"/>
          <a:lstStyle/>
          <a:p>
            <a:pPr algn="ctr" defTabSz="914355"/>
            <a:endParaRPr lang="zh-CN" altLang="en-US" sz="1200" b="1" kern="0" spc="5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3A407C80-D5DC-4B01-9DD9-8A2516A86732}"/>
              </a:ext>
            </a:extLst>
          </p:cNvPr>
          <p:cNvSpPr>
            <a:spLocks noEditPoints="1"/>
          </p:cNvSpPr>
          <p:nvPr/>
        </p:nvSpPr>
        <p:spPr bwMode="auto">
          <a:xfrm>
            <a:off x="9501614" y="5054294"/>
            <a:ext cx="525701" cy="530233"/>
          </a:xfrm>
          <a:custGeom>
            <a:avLst/>
            <a:gdLst>
              <a:gd name="T0" fmla="*/ 2629 w 2822"/>
              <a:gd name="T1" fmla="*/ 982 h 2848"/>
              <a:gd name="T2" fmla="*/ 2108 w 2822"/>
              <a:gd name="T3" fmla="*/ 289 h 2848"/>
              <a:gd name="T4" fmla="*/ 1166 w 2822"/>
              <a:gd name="T5" fmla="*/ 875 h 2848"/>
              <a:gd name="T6" fmla="*/ 980 w 2822"/>
              <a:gd name="T7" fmla="*/ 330 h 2848"/>
              <a:gd name="T8" fmla="*/ 149 w 2822"/>
              <a:gd name="T9" fmla="*/ 330 h 2848"/>
              <a:gd name="T10" fmla="*/ 148 w 2822"/>
              <a:gd name="T11" fmla="*/ 1767 h 2848"/>
              <a:gd name="T12" fmla="*/ 476 w 2822"/>
              <a:gd name="T13" fmla="*/ 2676 h 2848"/>
              <a:gd name="T14" fmla="*/ 197 w 2822"/>
              <a:gd name="T15" fmla="*/ 2762 h 2848"/>
              <a:gd name="T16" fmla="*/ 2408 w 2822"/>
              <a:gd name="T17" fmla="*/ 2848 h 2848"/>
              <a:gd name="T18" fmla="*/ 2408 w 2822"/>
              <a:gd name="T19" fmla="*/ 2676 h 2848"/>
              <a:gd name="T20" fmla="*/ 2224 w 2822"/>
              <a:gd name="T21" fmla="*/ 2061 h 2848"/>
              <a:gd name="T22" fmla="*/ 2108 w 2822"/>
              <a:gd name="T23" fmla="*/ 462 h 2848"/>
              <a:gd name="T24" fmla="*/ 2448 w 2822"/>
              <a:gd name="T25" fmla="*/ 975 h 2848"/>
              <a:gd name="T26" fmla="*/ 2474 w 2822"/>
              <a:gd name="T27" fmla="*/ 1076 h 2848"/>
              <a:gd name="T28" fmla="*/ 2194 w 2822"/>
              <a:gd name="T29" fmla="*/ 1889 h 2848"/>
              <a:gd name="T30" fmla="*/ 1851 w 2822"/>
              <a:gd name="T31" fmla="*/ 1207 h 2848"/>
              <a:gd name="T32" fmla="*/ 1743 w 2822"/>
              <a:gd name="T33" fmla="*/ 886 h 2848"/>
              <a:gd name="T34" fmla="*/ 1829 w 2822"/>
              <a:gd name="T35" fmla="*/ 590 h 2848"/>
              <a:gd name="T36" fmla="*/ 1216 w 2822"/>
              <a:gd name="T37" fmla="*/ 1238 h 2848"/>
              <a:gd name="T38" fmla="*/ 1356 w 2822"/>
              <a:gd name="T39" fmla="*/ 951 h 2848"/>
              <a:gd name="T40" fmla="*/ 1672 w 2822"/>
              <a:gd name="T41" fmla="*/ 1229 h 2848"/>
              <a:gd name="T42" fmla="*/ 1718 w 2822"/>
              <a:gd name="T43" fmla="*/ 1332 h 2848"/>
              <a:gd name="T44" fmla="*/ 1462 w 2822"/>
              <a:gd name="T45" fmla="*/ 1990 h 2848"/>
              <a:gd name="T46" fmla="*/ 1388 w 2822"/>
              <a:gd name="T47" fmla="*/ 1999 h 2848"/>
              <a:gd name="T48" fmla="*/ 760 w 2822"/>
              <a:gd name="T49" fmla="*/ 1600 h 2848"/>
              <a:gd name="T50" fmla="*/ 1078 w 2822"/>
              <a:gd name="T51" fmla="*/ 1253 h 2848"/>
              <a:gd name="T52" fmla="*/ 1216 w 2822"/>
              <a:gd name="T53" fmla="*/ 1238 h 2848"/>
              <a:gd name="T54" fmla="*/ 173 w 2822"/>
              <a:gd name="T55" fmla="*/ 1048 h 2848"/>
              <a:gd name="T56" fmla="*/ 564 w 2822"/>
              <a:gd name="T57" fmla="*/ 173 h 2848"/>
              <a:gd name="T58" fmla="*/ 956 w 2822"/>
              <a:gd name="T59" fmla="*/ 1048 h 2848"/>
              <a:gd name="T60" fmla="*/ 625 w 2822"/>
              <a:gd name="T61" fmla="*/ 1439 h 2848"/>
              <a:gd name="T62" fmla="*/ 564 w 2822"/>
              <a:gd name="T63" fmla="*/ 1924 h 2848"/>
              <a:gd name="T64" fmla="*/ 649 w 2822"/>
              <a:gd name="T65" fmla="*/ 2085 h 2848"/>
              <a:gd name="T66" fmla="*/ 1166 w 2822"/>
              <a:gd name="T67" fmla="*/ 2236 h 2848"/>
              <a:gd name="T68" fmla="*/ 1318 w 2822"/>
              <a:gd name="T69" fmla="*/ 2676 h 2848"/>
              <a:gd name="T70" fmla="*/ 649 w 2822"/>
              <a:gd name="T71" fmla="*/ 2085 h 2848"/>
              <a:gd name="T72" fmla="*/ 1491 w 2822"/>
              <a:gd name="T73" fmla="*/ 2181 h 2848"/>
              <a:gd name="T74" fmla="*/ 1571 w 2822"/>
              <a:gd name="T75" fmla="*/ 2180 h 2848"/>
              <a:gd name="T76" fmla="*/ 2051 w 2822"/>
              <a:gd name="T77" fmla="*/ 2046 h 2848"/>
              <a:gd name="T78" fmla="*/ 1491 w 2822"/>
              <a:gd name="T79" fmla="*/ 2676 h 2848"/>
              <a:gd name="T80" fmla="*/ 1491 w 2822"/>
              <a:gd name="T81" fmla="*/ 2676 h 2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822" h="2848">
                <a:moveTo>
                  <a:pt x="2821" y="1435"/>
                </a:moveTo>
                <a:cubicBezTo>
                  <a:pt x="2822" y="1264"/>
                  <a:pt x="2752" y="1100"/>
                  <a:pt x="2629" y="982"/>
                </a:cubicBezTo>
                <a:cubicBezTo>
                  <a:pt x="2643" y="933"/>
                  <a:pt x="2650" y="882"/>
                  <a:pt x="2650" y="831"/>
                </a:cubicBezTo>
                <a:cubicBezTo>
                  <a:pt x="2650" y="532"/>
                  <a:pt x="2407" y="289"/>
                  <a:pt x="2108" y="289"/>
                </a:cubicBezTo>
                <a:cubicBezTo>
                  <a:pt x="1828" y="289"/>
                  <a:pt x="1596" y="503"/>
                  <a:pt x="1569" y="777"/>
                </a:cubicBezTo>
                <a:cubicBezTo>
                  <a:pt x="1427" y="733"/>
                  <a:pt x="1272" y="770"/>
                  <a:pt x="1166" y="875"/>
                </a:cubicBezTo>
                <a:cubicBezTo>
                  <a:pt x="1151" y="890"/>
                  <a:pt x="1137" y="905"/>
                  <a:pt x="1125" y="922"/>
                </a:cubicBezTo>
                <a:cubicBezTo>
                  <a:pt x="1111" y="699"/>
                  <a:pt x="1061" y="493"/>
                  <a:pt x="980" y="330"/>
                </a:cubicBezTo>
                <a:cubicBezTo>
                  <a:pt x="874" y="118"/>
                  <a:pt x="727" y="0"/>
                  <a:pt x="564" y="0"/>
                </a:cubicBezTo>
                <a:cubicBezTo>
                  <a:pt x="402" y="0"/>
                  <a:pt x="255" y="117"/>
                  <a:pt x="149" y="330"/>
                </a:cubicBezTo>
                <a:cubicBezTo>
                  <a:pt x="53" y="523"/>
                  <a:pt x="0" y="778"/>
                  <a:pt x="0" y="1048"/>
                </a:cubicBezTo>
                <a:cubicBezTo>
                  <a:pt x="0" y="1318"/>
                  <a:pt x="52" y="1573"/>
                  <a:pt x="148" y="1767"/>
                </a:cubicBezTo>
                <a:cubicBezTo>
                  <a:pt x="235" y="1941"/>
                  <a:pt x="352" y="2051"/>
                  <a:pt x="476" y="2085"/>
                </a:cubicBezTo>
                <a:cubicBezTo>
                  <a:pt x="476" y="2676"/>
                  <a:pt x="476" y="2676"/>
                  <a:pt x="476" y="2676"/>
                </a:cubicBezTo>
                <a:cubicBezTo>
                  <a:pt x="284" y="2676"/>
                  <a:pt x="284" y="2676"/>
                  <a:pt x="284" y="2676"/>
                </a:cubicBezTo>
                <a:cubicBezTo>
                  <a:pt x="236" y="2676"/>
                  <a:pt x="197" y="2714"/>
                  <a:pt x="197" y="2762"/>
                </a:cubicBezTo>
                <a:cubicBezTo>
                  <a:pt x="197" y="2810"/>
                  <a:pt x="236" y="2848"/>
                  <a:pt x="284" y="2848"/>
                </a:cubicBezTo>
                <a:cubicBezTo>
                  <a:pt x="2408" y="2848"/>
                  <a:pt x="2408" y="2848"/>
                  <a:pt x="2408" y="2848"/>
                </a:cubicBezTo>
                <a:cubicBezTo>
                  <a:pt x="2455" y="2848"/>
                  <a:pt x="2494" y="2810"/>
                  <a:pt x="2494" y="2762"/>
                </a:cubicBezTo>
                <a:cubicBezTo>
                  <a:pt x="2494" y="2714"/>
                  <a:pt x="2455" y="2676"/>
                  <a:pt x="2408" y="2676"/>
                </a:cubicBezTo>
                <a:cubicBezTo>
                  <a:pt x="2224" y="2676"/>
                  <a:pt x="2224" y="2676"/>
                  <a:pt x="2224" y="2676"/>
                </a:cubicBezTo>
                <a:cubicBezTo>
                  <a:pt x="2224" y="2061"/>
                  <a:pt x="2224" y="2061"/>
                  <a:pt x="2224" y="2061"/>
                </a:cubicBezTo>
                <a:cubicBezTo>
                  <a:pt x="2556" y="2046"/>
                  <a:pt x="2821" y="1771"/>
                  <a:pt x="2821" y="1435"/>
                </a:cubicBezTo>
                <a:close/>
                <a:moveTo>
                  <a:pt x="2108" y="462"/>
                </a:moveTo>
                <a:cubicBezTo>
                  <a:pt x="2232" y="462"/>
                  <a:pt x="2348" y="524"/>
                  <a:pt x="2416" y="627"/>
                </a:cubicBezTo>
                <a:cubicBezTo>
                  <a:pt x="2484" y="730"/>
                  <a:pt x="2496" y="861"/>
                  <a:pt x="2448" y="975"/>
                </a:cubicBezTo>
                <a:cubicBezTo>
                  <a:pt x="2422" y="1036"/>
                  <a:pt x="2422" y="1036"/>
                  <a:pt x="2422" y="1036"/>
                </a:cubicBezTo>
                <a:cubicBezTo>
                  <a:pt x="2474" y="1076"/>
                  <a:pt x="2474" y="1076"/>
                  <a:pt x="2474" y="1076"/>
                </a:cubicBezTo>
                <a:cubicBezTo>
                  <a:pt x="2585" y="1162"/>
                  <a:pt x="2649" y="1295"/>
                  <a:pt x="2649" y="1435"/>
                </a:cubicBezTo>
                <a:cubicBezTo>
                  <a:pt x="2649" y="1685"/>
                  <a:pt x="2445" y="1889"/>
                  <a:pt x="2194" y="1889"/>
                </a:cubicBezTo>
                <a:cubicBezTo>
                  <a:pt x="2146" y="1889"/>
                  <a:pt x="2098" y="1882"/>
                  <a:pt x="2052" y="1867"/>
                </a:cubicBezTo>
                <a:cubicBezTo>
                  <a:pt x="2159" y="1628"/>
                  <a:pt x="2073" y="1347"/>
                  <a:pt x="1851" y="1207"/>
                </a:cubicBezTo>
                <a:cubicBezTo>
                  <a:pt x="1853" y="1193"/>
                  <a:pt x="1854" y="1178"/>
                  <a:pt x="1854" y="1163"/>
                </a:cubicBezTo>
                <a:cubicBezTo>
                  <a:pt x="1854" y="1060"/>
                  <a:pt x="1814" y="961"/>
                  <a:pt x="1743" y="886"/>
                </a:cubicBezTo>
                <a:cubicBezTo>
                  <a:pt x="1743" y="885"/>
                  <a:pt x="1743" y="885"/>
                  <a:pt x="1743" y="885"/>
                </a:cubicBezTo>
                <a:cubicBezTo>
                  <a:pt x="1728" y="779"/>
                  <a:pt x="1759" y="671"/>
                  <a:pt x="1829" y="590"/>
                </a:cubicBezTo>
                <a:cubicBezTo>
                  <a:pt x="1899" y="508"/>
                  <a:pt x="2001" y="462"/>
                  <a:pt x="2108" y="462"/>
                </a:cubicBezTo>
                <a:close/>
                <a:moveTo>
                  <a:pt x="1216" y="1238"/>
                </a:moveTo>
                <a:cubicBezTo>
                  <a:pt x="1218" y="1159"/>
                  <a:pt x="1218" y="1159"/>
                  <a:pt x="1218" y="1159"/>
                </a:cubicBezTo>
                <a:cubicBezTo>
                  <a:pt x="1219" y="1069"/>
                  <a:pt x="1273" y="988"/>
                  <a:pt x="1356" y="951"/>
                </a:cubicBezTo>
                <a:cubicBezTo>
                  <a:pt x="1438" y="915"/>
                  <a:pt x="1534" y="930"/>
                  <a:pt x="1602" y="989"/>
                </a:cubicBezTo>
                <a:cubicBezTo>
                  <a:pt x="1670" y="1049"/>
                  <a:pt x="1697" y="1142"/>
                  <a:pt x="1672" y="1229"/>
                </a:cubicBezTo>
                <a:cubicBezTo>
                  <a:pt x="1650" y="1300"/>
                  <a:pt x="1650" y="1300"/>
                  <a:pt x="1650" y="1300"/>
                </a:cubicBezTo>
                <a:cubicBezTo>
                  <a:pt x="1718" y="1332"/>
                  <a:pt x="1718" y="1332"/>
                  <a:pt x="1718" y="1332"/>
                </a:cubicBezTo>
                <a:cubicBezTo>
                  <a:pt x="1889" y="1410"/>
                  <a:pt x="1969" y="1607"/>
                  <a:pt x="1901" y="1782"/>
                </a:cubicBezTo>
                <a:cubicBezTo>
                  <a:pt x="1832" y="1956"/>
                  <a:pt x="1640" y="2047"/>
                  <a:pt x="1462" y="1990"/>
                </a:cubicBezTo>
                <a:cubicBezTo>
                  <a:pt x="1423" y="1977"/>
                  <a:pt x="1423" y="1977"/>
                  <a:pt x="1423" y="1977"/>
                </a:cubicBezTo>
                <a:cubicBezTo>
                  <a:pt x="1388" y="1999"/>
                  <a:pt x="1388" y="1999"/>
                  <a:pt x="1388" y="1999"/>
                </a:cubicBezTo>
                <a:cubicBezTo>
                  <a:pt x="1254" y="2085"/>
                  <a:pt x="1082" y="2085"/>
                  <a:pt x="947" y="2000"/>
                </a:cubicBezTo>
                <a:cubicBezTo>
                  <a:pt x="813" y="1914"/>
                  <a:pt x="740" y="1759"/>
                  <a:pt x="760" y="1600"/>
                </a:cubicBezTo>
                <a:cubicBezTo>
                  <a:pt x="781" y="1442"/>
                  <a:pt x="891" y="1310"/>
                  <a:pt x="1043" y="1262"/>
                </a:cubicBezTo>
                <a:cubicBezTo>
                  <a:pt x="1055" y="1261"/>
                  <a:pt x="1067" y="1258"/>
                  <a:pt x="1078" y="1253"/>
                </a:cubicBezTo>
                <a:cubicBezTo>
                  <a:pt x="1098" y="1248"/>
                  <a:pt x="1117" y="1245"/>
                  <a:pt x="1138" y="1244"/>
                </a:cubicBezTo>
                <a:lnTo>
                  <a:pt x="1216" y="1238"/>
                </a:lnTo>
                <a:close/>
                <a:moveTo>
                  <a:pt x="304" y="1690"/>
                </a:moveTo>
                <a:cubicBezTo>
                  <a:pt x="219" y="1520"/>
                  <a:pt x="173" y="1292"/>
                  <a:pt x="173" y="1048"/>
                </a:cubicBezTo>
                <a:cubicBezTo>
                  <a:pt x="173" y="805"/>
                  <a:pt x="219" y="577"/>
                  <a:pt x="304" y="407"/>
                </a:cubicBezTo>
                <a:cubicBezTo>
                  <a:pt x="377" y="258"/>
                  <a:pt x="472" y="173"/>
                  <a:pt x="564" y="173"/>
                </a:cubicBezTo>
                <a:cubicBezTo>
                  <a:pt x="656" y="173"/>
                  <a:pt x="751" y="259"/>
                  <a:pt x="825" y="407"/>
                </a:cubicBezTo>
                <a:cubicBezTo>
                  <a:pt x="909" y="577"/>
                  <a:pt x="956" y="805"/>
                  <a:pt x="956" y="1048"/>
                </a:cubicBezTo>
                <a:cubicBezTo>
                  <a:pt x="956" y="1069"/>
                  <a:pt x="955" y="1089"/>
                  <a:pt x="955" y="1110"/>
                </a:cubicBezTo>
                <a:cubicBezTo>
                  <a:pt x="804" y="1169"/>
                  <a:pt x="684" y="1288"/>
                  <a:pt x="625" y="1439"/>
                </a:cubicBezTo>
                <a:cubicBezTo>
                  <a:pt x="565" y="1590"/>
                  <a:pt x="571" y="1758"/>
                  <a:pt x="641" y="1904"/>
                </a:cubicBezTo>
                <a:cubicBezTo>
                  <a:pt x="617" y="1917"/>
                  <a:pt x="591" y="1923"/>
                  <a:pt x="564" y="1924"/>
                </a:cubicBezTo>
                <a:cubicBezTo>
                  <a:pt x="473" y="1924"/>
                  <a:pt x="378" y="1838"/>
                  <a:pt x="304" y="1690"/>
                </a:cubicBezTo>
                <a:close/>
                <a:moveTo>
                  <a:pt x="649" y="2085"/>
                </a:moveTo>
                <a:cubicBezTo>
                  <a:pt x="680" y="2077"/>
                  <a:pt x="710" y="2064"/>
                  <a:pt x="738" y="2048"/>
                </a:cubicBezTo>
                <a:cubicBezTo>
                  <a:pt x="848" y="2168"/>
                  <a:pt x="1003" y="2236"/>
                  <a:pt x="1166" y="2236"/>
                </a:cubicBezTo>
                <a:cubicBezTo>
                  <a:pt x="1217" y="2236"/>
                  <a:pt x="1269" y="2230"/>
                  <a:pt x="1318" y="2216"/>
                </a:cubicBezTo>
                <a:cubicBezTo>
                  <a:pt x="1318" y="2676"/>
                  <a:pt x="1318" y="2676"/>
                  <a:pt x="1318" y="2676"/>
                </a:cubicBezTo>
                <a:cubicBezTo>
                  <a:pt x="649" y="2676"/>
                  <a:pt x="649" y="2676"/>
                  <a:pt x="649" y="2676"/>
                </a:cubicBezTo>
                <a:lnTo>
                  <a:pt x="649" y="2085"/>
                </a:lnTo>
                <a:close/>
                <a:moveTo>
                  <a:pt x="1491" y="2676"/>
                </a:moveTo>
                <a:cubicBezTo>
                  <a:pt x="1491" y="2181"/>
                  <a:pt x="1491" y="2181"/>
                  <a:pt x="1491" y="2181"/>
                </a:cubicBezTo>
                <a:cubicBezTo>
                  <a:pt x="1491" y="2179"/>
                  <a:pt x="1491" y="2176"/>
                  <a:pt x="1491" y="2174"/>
                </a:cubicBezTo>
                <a:cubicBezTo>
                  <a:pt x="1518" y="2178"/>
                  <a:pt x="1544" y="2180"/>
                  <a:pt x="1571" y="2180"/>
                </a:cubicBezTo>
                <a:cubicBezTo>
                  <a:pt x="1716" y="2180"/>
                  <a:pt x="1854" y="2120"/>
                  <a:pt x="1953" y="2014"/>
                </a:cubicBezTo>
                <a:cubicBezTo>
                  <a:pt x="1985" y="2027"/>
                  <a:pt x="2018" y="2038"/>
                  <a:pt x="2051" y="2046"/>
                </a:cubicBezTo>
                <a:cubicBezTo>
                  <a:pt x="2051" y="2676"/>
                  <a:pt x="2051" y="2676"/>
                  <a:pt x="2051" y="2676"/>
                </a:cubicBezTo>
                <a:lnTo>
                  <a:pt x="1491" y="2676"/>
                </a:lnTo>
                <a:close/>
                <a:moveTo>
                  <a:pt x="1491" y="2676"/>
                </a:moveTo>
                <a:cubicBezTo>
                  <a:pt x="1491" y="2676"/>
                  <a:pt x="1491" y="2676"/>
                  <a:pt x="1491" y="2676"/>
                </a:cubicBezTo>
              </a:path>
            </a:pathLst>
          </a:custGeom>
          <a:solidFill>
            <a:schemeClr val="bg2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rgbClr val="1D1D1A"/>
              </a:solidFill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752920" y="4848642"/>
            <a:ext cx="941440" cy="941536"/>
            <a:chOff x="752920" y="4848642"/>
            <a:chExt cx="941440" cy="941536"/>
          </a:xfrm>
        </p:grpSpPr>
        <p:sp>
          <p:nvSpPr>
            <p:cNvPr id="61" name="椭圆 60">
              <a:extLst>
                <a:ext uri="{FF2B5EF4-FFF2-40B4-BE49-F238E27FC236}">
                  <a16:creationId xmlns:a16="http://schemas.microsoft.com/office/drawing/2014/main" id="{0073976F-1D1C-44BA-B04E-B2E364DADFB0}"/>
                </a:ext>
              </a:extLst>
            </p:cNvPr>
            <p:cNvSpPr/>
            <p:nvPr/>
          </p:nvSpPr>
          <p:spPr>
            <a:xfrm>
              <a:off x="752920" y="4848642"/>
              <a:ext cx="941440" cy="941536"/>
            </a:xfrm>
            <a:prstGeom prst="ellipse">
              <a:avLst/>
            </a:prstGeom>
            <a:gradFill flip="none" rotWithShape="1">
              <a:gsLst>
                <a:gs pos="38000">
                  <a:srgbClr val="666666">
                    <a:lumMod val="60000"/>
                    <a:lumOff val="40000"/>
                    <a:alpha val="2000"/>
                  </a:srgbClr>
                </a:gs>
                <a:gs pos="100000">
                  <a:srgbClr val="666666">
                    <a:lumMod val="60000"/>
                    <a:lumOff val="40000"/>
                    <a:alpha val="15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 algn="ctr">
              <a:gradFill flip="none" rotWithShape="1">
                <a:gsLst>
                  <a:gs pos="0">
                    <a:srgbClr val="666666">
                      <a:lumMod val="60000"/>
                      <a:lumOff val="40000"/>
                      <a:alpha val="80000"/>
                    </a:srgbClr>
                  </a:gs>
                  <a:gs pos="100000">
                    <a:srgbClr val="666666">
                      <a:lumMod val="60000"/>
                      <a:lumOff val="40000"/>
                      <a:alpha val="40000"/>
                    </a:srgbClr>
                  </a:gs>
                </a:gsLst>
                <a:lin ang="0" scaled="0"/>
                <a:tileRect/>
              </a:gra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square" lIns="0" tIns="0" rIns="0" bIns="0" anchor="ctr" anchorCtr="1"/>
            <a:lstStyle/>
            <a:p>
              <a:pPr algn="ctr" defTabSz="914355"/>
              <a:endParaRPr lang="zh-CN" altLang="en-US" sz="1200" b="1" kern="0" spc="50">
                <a:solidFill>
                  <a:sysClr val="windowText" lastClr="000000"/>
                </a:solidFill>
                <a:cs typeface="Arial" pitchFamily="34" charset="0"/>
              </a:endParaRPr>
            </a:p>
          </p:txBody>
        </p:sp>
        <p:grpSp>
          <p:nvGrpSpPr>
            <p:cNvPr id="66" name="Group 34"/>
            <p:cNvGrpSpPr>
              <a:grpSpLocks noChangeAspect="1"/>
            </p:cNvGrpSpPr>
            <p:nvPr/>
          </p:nvGrpSpPr>
          <p:grpSpPr bwMode="auto">
            <a:xfrm>
              <a:off x="902622" y="5055044"/>
              <a:ext cx="663285" cy="568677"/>
              <a:chOff x="4178" y="1209"/>
              <a:chExt cx="1396" cy="1198"/>
            </a:xfrm>
          </p:grpSpPr>
          <p:sp>
            <p:nvSpPr>
              <p:cNvPr id="67" name="Freeform 35"/>
              <p:cNvSpPr>
                <a:spLocks noEditPoints="1"/>
              </p:cNvSpPr>
              <p:nvPr/>
            </p:nvSpPr>
            <p:spPr bwMode="auto">
              <a:xfrm>
                <a:off x="4178" y="1596"/>
                <a:ext cx="1396" cy="811"/>
              </a:xfrm>
              <a:custGeom>
                <a:avLst/>
                <a:gdLst>
                  <a:gd name="T0" fmla="*/ 2711 w 588"/>
                  <a:gd name="T1" fmla="*/ 29 h 341"/>
                  <a:gd name="T2" fmla="*/ 643 w 588"/>
                  <a:gd name="T3" fmla="*/ 0 h 341"/>
                  <a:gd name="T4" fmla="*/ 5 w 588"/>
                  <a:gd name="T5" fmla="*/ 1115 h 341"/>
                  <a:gd name="T6" fmla="*/ 45 w 588"/>
                  <a:gd name="T7" fmla="*/ 1182 h 341"/>
                  <a:gd name="T8" fmla="*/ 1612 w 588"/>
                  <a:gd name="T9" fmla="*/ 1838 h 341"/>
                  <a:gd name="T10" fmla="*/ 1132 w 588"/>
                  <a:gd name="T11" fmla="*/ 1884 h 341"/>
                  <a:gd name="T12" fmla="*/ 2137 w 588"/>
                  <a:gd name="T13" fmla="*/ 1929 h 341"/>
                  <a:gd name="T14" fmla="*/ 2137 w 588"/>
                  <a:gd name="T15" fmla="*/ 1838 h 341"/>
                  <a:gd name="T16" fmla="*/ 1702 w 588"/>
                  <a:gd name="T17" fmla="*/ 1182 h 341"/>
                  <a:gd name="T18" fmla="*/ 2654 w 588"/>
                  <a:gd name="T19" fmla="*/ 1239 h 341"/>
                  <a:gd name="T20" fmla="*/ 2654 w 588"/>
                  <a:gd name="T21" fmla="*/ 1035 h 341"/>
                  <a:gd name="T22" fmla="*/ 2457 w 588"/>
                  <a:gd name="T23" fmla="*/ 1092 h 341"/>
                  <a:gd name="T24" fmla="*/ 2965 w 588"/>
                  <a:gd name="T25" fmla="*/ 685 h 341"/>
                  <a:gd name="T26" fmla="*/ 3056 w 588"/>
                  <a:gd name="T27" fmla="*/ 1092 h 341"/>
                  <a:gd name="T28" fmla="*/ 2858 w 588"/>
                  <a:gd name="T29" fmla="*/ 1137 h 341"/>
                  <a:gd name="T30" fmla="*/ 3056 w 588"/>
                  <a:gd name="T31" fmla="*/ 1182 h 341"/>
                  <a:gd name="T32" fmla="*/ 3310 w 588"/>
                  <a:gd name="T33" fmla="*/ 1161 h 341"/>
                  <a:gd name="T34" fmla="*/ 2733 w 588"/>
                  <a:gd name="T35" fmla="*/ 259 h 341"/>
                  <a:gd name="T36" fmla="*/ 2198 w 588"/>
                  <a:gd name="T37" fmla="*/ 90 h 341"/>
                  <a:gd name="T38" fmla="*/ 2733 w 588"/>
                  <a:gd name="T39" fmla="*/ 259 h 341"/>
                  <a:gd name="T40" fmla="*/ 1038 w 588"/>
                  <a:gd name="T41" fmla="*/ 350 h 341"/>
                  <a:gd name="T42" fmla="*/ 394 w 588"/>
                  <a:gd name="T43" fmla="*/ 595 h 341"/>
                  <a:gd name="T44" fmla="*/ 1132 w 588"/>
                  <a:gd name="T45" fmla="*/ 350 h 341"/>
                  <a:gd name="T46" fmla="*/ 1612 w 588"/>
                  <a:gd name="T47" fmla="*/ 595 h 341"/>
                  <a:gd name="T48" fmla="*/ 1132 w 588"/>
                  <a:gd name="T49" fmla="*/ 350 h 341"/>
                  <a:gd name="T50" fmla="*/ 1612 w 588"/>
                  <a:gd name="T51" fmla="*/ 259 h 341"/>
                  <a:gd name="T52" fmla="*/ 1201 w 588"/>
                  <a:gd name="T53" fmla="*/ 90 h 341"/>
                  <a:gd name="T54" fmla="*/ 1702 w 588"/>
                  <a:gd name="T55" fmla="*/ 350 h 341"/>
                  <a:gd name="T56" fmla="*/ 2232 w 588"/>
                  <a:gd name="T57" fmla="*/ 595 h 341"/>
                  <a:gd name="T58" fmla="*/ 1702 w 588"/>
                  <a:gd name="T59" fmla="*/ 350 h 341"/>
                  <a:gd name="T60" fmla="*/ 1702 w 588"/>
                  <a:gd name="T61" fmla="*/ 90 h 341"/>
                  <a:gd name="T62" fmla="*/ 2149 w 588"/>
                  <a:gd name="T63" fmla="*/ 259 h 341"/>
                  <a:gd name="T64" fmla="*/ 672 w 588"/>
                  <a:gd name="T65" fmla="*/ 90 h 341"/>
                  <a:gd name="T66" fmla="*/ 1059 w 588"/>
                  <a:gd name="T67" fmla="*/ 259 h 341"/>
                  <a:gd name="T68" fmla="*/ 672 w 588"/>
                  <a:gd name="T69" fmla="*/ 90 h 341"/>
                  <a:gd name="T70" fmla="*/ 952 w 588"/>
                  <a:gd name="T71" fmla="*/ 685 h 341"/>
                  <a:gd name="T72" fmla="*/ 123 w 588"/>
                  <a:gd name="T73" fmla="*/ 1092 h 341"/>
                  <a:gd name="T74" fmla="*/ 935 w 588"/>
                  <a:gd name="T75" fmla="*/ 1092 h 341"/>
                  <a:gd name="T76" fmla="*/ 1612 w 588"/>
                  <a:gd name="T77" fmla="*/ 685 h 341"/>
                  <a:gd name="T78" fmla="*/ 935 w 588"/>
                  <a:gd name="T79" fmla="*/ 1092 h 341"/>
                  <a:gd name="T80" fmla="*/ 1702 w 588"/>
                  <a:gd name="T81" fmla="*/ 1092 h 341"/>
                  <a:gd name="T82" fmla="*/ 2260 w 588"/>
                  <a:gd name="T83" fmla="*/ 685 h 341"/>
                  <a:gd name="T84" fmla="*/ 2329 w 588"/>
                  <a:gd name="T85" fmla="*/ 595 h 341"/>
                  <a:gd name="T86" fmla="*/ 2785 w 588"/>
                  <a:gd name="T87" fmla="*/ 350 h 341"/>
                  <a:gd name="T88" fmla="*/ 2329 w 588"/>
                  <a:gd name="T89" fmla="*/ 595 h 341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588" h="341">
                    <a:moveTo>
                      <a:pt x="587" y="197"/>
                    </a:moveTo>
                    <a:cubicBezTo>
                      <a:pt x="481" y="5"/>
                      <a:pt x="481" y="5"/>
                      <a:pt x="481" y="5"/>
                    </a:cubicBezTo>
                    <a:cubicBezTo>
                      <a:pt x="479" y="2"/>
                      <a:pt x="477" y="0"/>
                      <a:pt x="474" y="0"/>
                    </a:cubicBezTo>
                    <a:cubicBezTo>
                      <a:pt x="114" y="0"/>
                      <a:pt x="114" y="0"/>
                      <a:pt x="114" y="0"/>
                    </a:cubicBezTo>
                    <a:cubicBezTo>
                      <a:pt x="111" y="0"/>
                      <a:pt x="109" y="2"/>
                      <a:pt x="107" y="5"/>
                    </a:cubicBezTo>
                    <a:cubicBezTo>
                      <a:pt x="1" y="197"/>
                      <a:pt x="1" y="197"/>
                      <a:pt x="1" y="197"/>
                    </a:cubicBezTo>
                    <a:cubicBezTo>
                      <a:pt x="0" y="200"/>
                      <a:pt x="0" y="203"/>
                      <a:pt x="1" y="205"/>
                    </a:cubicBezTo>
                    <a:cubicBezTo>
                      <a:pt x="3" y="208"/>
                      <a:pt x="5" y="209"/>
                      <a:pt x="8" y="209"/>
                    </a:cubicBezTo>
                    <a:cubicBezTo>
                      <a:pt x="286" y="209"/>
                      <a:pt x="286" y="209"/>
                      <a:pt x="286" y="209"/>
                    </a:cubicBezTo>
                    <a:cubicBezTo>
                      <a:pt x="286" y="325"/>
                      <a:pt x="286" y="325"/>
                      <a:pt x="286" y="325"/>
                    </a:cubicBezTo>
                    <a:cubicBezTo>
                      <a:pt x="209" y="325"/>
                      <a:pt x="209" y="325"/>
                      <a:pt x="209" y="325"/>
                    </a:cubicBezTo>
                    <a:cubicBezTo>
                      <a:pt x="205" y="325"/>
                      <a:pt x="201" y="328"/>
                      <a:pt x="201" y="333"/>
                    </a:cubicBezTo>
                    <a:cubicBezTo>
                      <a:pt x="201" y="337"/>
                      <a:pt x="205" y="341"/>
                      <a:pt x="209" y="341"/>
                    </a:cubicBezTo>
                    <a:cubicBezTo>
                      <a:pt x="379" y="341"/>
                      <a:pt x="379" y="341"/>
                      <a:pt x="379" y="341"/>
                    </a:cubicBezTo>
                    <a:cubicBezTo>
                      <a:pt x="383" y="341"/>
                      <a:pt x="387" y="337"/>
                      <a:pt x="387" y="333"/>
                    </a:cubicBezTo>
                    <a:cubicBezTo>
                      <a:pt x="387" y="328"/>
                      <a:pt x="383" y="325"/>
                      <a:pt x="379" y="325"/>
                    </a:cubicBezTo>
                    <a:cubicBezTo>
                      <a:pt x="302" y="325"/>
                      <a:pt x="302" y="325"/>
                      <a:pt x="302" y="325"/>
                    </a:cubicBezTo>
                    <a:cubicBezTo>
                      <a:pt x="302" y="209"/>
                      <a:pt x="302" y="209"/>
                      <a:pt x="302" y="209"/>
                    </a:cubicBezTo>
                    <a:cubicBezTo>
                      <a:pt x="455" y="209"/>
                      <a:pt x="455" y="209"/>
                      <a:pt x="455" y="209"/>
                    </a:cubicBezTo>
                    <a:cubicBezTo>
                      <a:pt x="458" y="215"/>
                      <a:pt x="464" y="219"/>
                      <a:pt x="471" y="219"/>
                    </a:cubicBezTo>
                    <a:cubicBezTo>
                      <a:pt x="481" y="219"/>
                      <a:pt x="489" y="211"/>
                      <a:pt x="489" y="201"/>
                    </a:cubicBezTo>
                    <a:cubicBezTo>
                      <a:pt x="489" y="191"/>
                      <a:pt x="481" y="183"/>
                      <a:pt x="471" y="183"/>
                    </a:cubicBezTo>
                    <a:cubicBezTo>
                      <a:pt x="464" y="183"/>
                      <a:pt x="458" y="187"/>
                      <a:pt x="455" y="193"/>
                    </a:cubicBezTo>
                    <a:cubicBezTo>
                      <a:pt x="436" y="193"/>
                      <a:pt x="436" y="193"/>
                      <a:pt x="436" y="193"/>
                    </a:cubicBezTo>
                    <a:cubicBezTo>
                      <a:pt x="417" y="121"/>
                      <a:pt x="417" y="121"/>
                      <a:pt x="417" y="121"/>
                    </a:cubicBezTo>
                    <a:cubicBezTo>
                      <a:pt x="526" y="121"/>
                      <a:pt x="526" y="121"/>
                      <a:pt x="526" y="121"/>
                    </a:cubicBezTo>
                    <a:cubicBezTo>
                      <a:pt x="566" y="193"/>
                      <a:pt x="566" y="193"/>
                      <a:pt x="566" y="193"/>
                    </a:cubicBezTo>
                    <a:cubicBezTo>
                      <a:pt x="542" y="193"/>
                      <a:pt x="542" y="193"/>
                      <a:pt x="542" y="193"/>
                    </a:cubicBezTo>
                    <a:cubicBezTo>
                      <a:pt x="539" y="187"/>
                      <a:pt x="533" y="183"/>
                      <a:pt x="526" y="183"/>
                    </a:cubicBezTo>
                    <a:cubicBezTo>
                      <a:pt x="516" y="183"/>
                      <a:pt x="507" y="191"/>
                      <a:pt x="507" y="201"/>
                    </a:cubicBezTo>
                    <a:cubicBezTo>
                      <a:pt x="507" y="211"/>
                      <a:pt x="516" y="219"/>
                      <a:pt x="526" y="219"/>
                    </a:cubicBezTo>
                    <a:cubicBezTo>
                      <a:pt x="533" y="219"/>
                      <a:pt x="539" y="215"/>
                      <a:pt x="542" y="209"/>
                    </a:cubicBezTo>
                    <a:cubicBezTo>
                      <a:pt x="580" y="209"/>
                      <a:pt x="580" y="209"/>
                      <a:pt x="580" y="209"/>
                    </a:cubicBezTo>
                    <a:cubicBezTo>
                      <a:pt x="582" y="209"/>
                      <a:pt x="585" y="208"/>
                      <a:pt x="587" y="205"/>
                    </a:cubicBezTo>
                    <a:cubicBezTo>
                      <a:pt x="588" y="203"/>
                      <a:pt x="588" y="200"/>
                      <a:pt x="587" y="197"/>
                    </a:cubicBezTo>
                    <a:close/>
                    <a:moveTo>
                      <a:pt x="485" y="46"/>
                    </a:moveTo>
                    <a:cubicBezTo>
                      <a:pt x="397" y="46"/>
                      <a:pt x="397" y="46"/>
                      <a:pt x="397" y="46"/>
                    </a:cubicBezTo>
                    <a:cubicBezTo>
                      <a:pt x="390" y="16"/>
                      <a:pt x="390" y="16"/>
                      <a:pt x="390" y="16"/>
                    </a:cubicBezTo>
                    <a:cubicBezTo>
                      <a:pt x="469" y="16"/>
                      <a:pt x="469" y="16"/>
                      <a:pt x="469" y="16"/>
                    </a:cubicBezTo>
                    <a:lnTo>
                      <a:pt x="485" y="46"/>
                    </a:lnTo>
                    <a:close/>
                    <a:moveTo>
                      <a:pt x="94" y="62"/>
                    </a:moveTo>
                    <a:cubicBezTo>
                      <a:pt x="184" y="62"/>
                      <a:pt x="184" y="62"/>
                      <a:pt x="184" y="62"/>
                    </a:cubicBezTo>
                    <a:cubicBezTo>
                      <a:pt x="173" y="105"/>
                      <a:pt x="173" y="105"/>
                      <a:pt x="173" y="105"/>
                    </a:cubicBezTo>
                    <a:cubicBezTo>
                      <a:pt x="70" y="105"/>
                      <a:pt x="70" y="105"/>
                      <a:pt x="70" y="105"/>
                    </a:cubicBezTo>
                    <a:lnTo>
                      <a:pt x="94" y="62"/>
                    </a:lnTo>
                    <a:close/>
                    <a:moveTo>
                      <a:pt x="201" y="62"/>
                    </a:moveTo>
                    <a:cubicBezTo>
                      <a:pt x="286" y="62"/>
                      <a:pt x="286" y="62"/>
                      <a:pt x="286" y="62"/>
                    </a:cubicBezTo>
                    <a:cubicBezTo>
                      <a:pt x="286" y="105"/>
                      <a:pt x="286" y="105"/>
                      <a:pt x="286" y="105"/>
                    </a:cubicBezTo>
                    <a:cubicBezTo>
                      <a:pt x="189" y="105"/>
                      <a:pt x="189" y="105"/>
                      <a:pt x="189" y="105"/>
                    </a:cubicBezTo>
                    <a:lnTo>
                      <a:pt x="201" y="62"/>
                    </a:lnTo>
                    <a:close/>
                    <a:moveTo>
                      <a:pt x="286" y="16"/>
                    </a:moveTo>
                    <a:cubicBezTo>
                      <a:pt x="286" y="46"/>
                      <a:pt x="286" y="46"/>
                      <a:pt x="286" y="46"/>
                    </a:cubicBezTo>
                    <a:cubicBezTo>
                      <a:pt x="205" y="46"/>
                      <a:pt x="205" y="46"/>
                      <a:pt x="205" y="46"/>
                    </a:cubicBezTo>
                    <a:cubicBezTo>
                      <a:pt x="213" y="16"/>
                      <a:pt x="213" y="16"/>
                      <a:pt x="213" y="16"/>
                    </a:cubicBezTo>
                    <a:lnTo>
                      <a:pt x="286" y="16"/>
                    </a:lnTo>
                    <a:close/>
                    <a:moveTo>
                      <a:pt x="302" y="62"/>
                    </a:moveTo>
                    <a:cubicBezTo>
                      <a:pt x="385" y="62"/>
                      <a:pt x="385" y="62"/>
                      <a:pt x="385" y="62"/>
                    </a:cubicBezTo>
                    <a:cubicBezTo>
                      <a:pt x="396" y="105"/>
                      <a:pt x="396" y="105"/>
                      <a:pt x="396" y="105"/>
                    </a:cubicBezTo>
                    <a:cubicBezTo>
                      <a:pt x="302" y="105"/>
                      <a:pt x="302" y="105"/>
                      <a:pt x="302" y="105"/>
                    </a:cubicBezTo>
                    <a:lnTo>
                      <a:pt x="302" y="62"/>
                    </a:lnTo>
                    <a:close/>
                    <a:moveTo>
                      <a:pt x="302" y="46"/>
                    </a:moveTo>
                    <a:cubicBezTo>
                      <a:pt x="302" y="16"/>
                      <a:pt x="302" y="16"/>
                      <a:pt x="302" y="16"/>
                    </a:cubicBezTo>
                    <a:cubicBezTo>
                      <a:pt x="373" y="16"/>
                      <a:pt x="373" y="16"/>
                      <a:pt x="373" y="16"/>
                    </a:cubicBezTo>
                    <a:cubicBezTo>
                      <a:pt x="381" y="46"/>
                      <a:pt x="381" y="46"/>
                      <a:pt x="381" y="46"/>
                    </a:cubicBezTo>
                    <a:lnTo>
                      <a:pt x="302" y="46"/>
                    </a:lnTo>
                    <a:close/>
                    <a:moveTo>
                      <a:pt x="119" y="16"/>
                    </a:moveTo>
                    <a:cubicBezTo>
                      <a:pt x="196" y="16"/>
                      <a:pt x="196" y="16"/>
                      <a:pt x="196" y="16"/>
                    </a:cubicBezTo>
                    <a:cubicBezTo>
                      <a:pt x="188" y="46"/>
                      <a:pt x="188" y="46"/>
                      <a:pt x="188" y="46"/>
                    </a:cubicBezTo>
                    <a:cubicBezTo>
                      <a:pt x="102" y="46"/>
                      <a:pt x="102" y="46"/>
                      <a:pt x="102" y="46"/>
                    </a:cubicBezTo>
                    <a:lnTo>
                      <a:pt x="119" y="16"/>
                    </a:lnTo>
                    <a:close/>
                    <a:moveTo>
                      <a:pt x="61" y="121"/>
                    </a:moveTo>
                    <a:cubicBezTo>
                      <a:pt x="169" y="121"/>
                      <a:pt x="169" y="121"/>
                      <a:pt x="169" y="121"/>
                    </a:cubicBezTo>
                    <a:cubicBezTo>
                      <a:pt x="149" y="193"/>
                      <a:pt x="149" y="193"/>
                      <a:pt x="149" y="193"/>
                    </a:cubicBezTo>
                    <a:cubicBezTo>
                      <a:pt x="22" y="193"/>
                      <a:pt x="22" y="193"/>
                      <a:pt x="22" y="193"/>
                    </a:cubicBezTo>
                    <a:lnTo>
                      <a:pt x="61" y="121"/>
                    </a:lnTo>
                    <a:close/>
                    <a:moveTo>
                      <a:pt x="166" y="193"/>
                    </a:moveTo>
                    <a:cubicBezTo>
                      <a:pt x="185" y="121"/>
                      <a:pt x="185" y="121"/>
                      <a:pt x="185" y="121"/>
                    </a:cubicBezTo>
                    <a:cubicBezTo>
                      <a:pt x="286" y="121"/>
                      <a:pt x="286" y="121"/>
                      <a:pt x="286" y="121"/>
                    </a:cubicBezTo>
                    <a:cubicBezTo>
                      <a:pt x="286" y="193"/>
                      <a:pt x="286" y="193"/>
                      <a:pt x="286" y="193"/>
                    </a:cubicBezTo>
                    <a:lnTo>
                      <a:pt x="166" y="193"/>
                    </a:lnTo>
                    <a:close/>
                    <a:moveTo>
                      <a:pt x="420" y="193"/>
                    </a:moveTo>
                    <a:cubicBezTo>
                      <a:pt x="302" y="193"/>
                      <a:pt x="302" y="193"/>
                      <a:pt x="302" y="193"/>
                    </a:cubicBezTo>
                    <a:cubicBezTo>
                      <a:pt x="302" y="121"/>
                      <a:pt x="302" y="121"/>
                      <a:pt x="302" y="121"/>
                    </a:cubicBezTo>
                    <a:cubicBezTo>
                      <a:pt x="401" y="121"/>
                      <a:pt x="401" y="121"/>
                      <a:pt x="401" y="121"/>
                    </a:cubicBezTo>
                    <a:lnTo>
                      <a:pt x="420" y="193"/>
                    </a:lnTo>
                    <a:close/>
                    <a:moveTo>
                      <a:pt x="413" y="105"/>
                    </a:moveTo>
                    <a:cubicBezTo>
                      <a:pt x="402" y="62"/>
                      <a:pt x="402" y="62"/>
                      <a:pt x="402" y="62"/>
                    </a:cubicBezTo>
                    <a:cubicBezTo>
                      <a:pt x="494" y="62"/>
                      <a:pt x="494" y="62"/>
                      <a:pt x="494" y="62"/>
                    </a:cubicBezTo>
                    <a:cubicBezTo>
                      <a:pt x="518" y="105"/>
                      <a:pt x="518" y="105"/>
                      <a:pt x="518" y="105"/>
                    </a:cubicBezTo>
                    <a:lnTo>
                      <a:pt x="413" y="105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45402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>
                  <a:solidFill>
                    <a:prstClr val="black"/>
                  </a:solidFill>
                  <a:ea typeface="宋体" panose="02010600030101010101" pitchFamily="2" charset="-122"/>
                </a:endParaRPr>
              </a:p>
            </p:txBody>
          </p:sp>
          <p:sp>
            <p:nvSpPr>
              <p:cNvPr id="68" name="Freeform 36"/>
              <p:cNvSpPr>
                <a:spLocks/>
              </p:cNvSpPr>
              <p:nvPr/>
            </p:nvSpPr>
            <p:spPr bwMode="auto">
              <a:xfrm>
                <a:off x="4653" y="1337"/>
                <a:ext cx="441" cy="240"/>
              </a:xfrm>
              <a:custGeom>
                <a:avLst/>
                <a:gdLst>
                  <a:gd name="T0" fmla="*/ 956 w 186"/>
                  <a:gd name="T1" fmla="*/ 525 h 101"/>
                  <a:gd name="T2" fmla="*/ 1001 w 186"/>
                  <a:gd name="T3" fmla="*/ 570 h 101"/>
                  <a:gd name="T4" fmla="*/ 1046 w 186"/>
                  <a:gd name="T5" fmla="*/ 525 h 101"/>
                  <a:gd name="T6" fmla="*/ 524 w 186"/>
                  <a:gd name="T7" fmla="*/ 0 h 101"/>
                  <a:gd name="T8" fmla="*/ 0 w 186"/>
                  <a:gd name="T9" fmla="*/ 525 h 101"/>
                  <a:gd name="T10" fmla="*/ 45 w 186"/>
                  <a:gd name="T11" fmla="*/ 570 h 101"/>
                  <a:gd name="T12" fmla="*/ 90 w 186"/>
                  <a:gd name="T13" fmla="*/ 525 h 101"/>
                  <a:gd name="T14" fmla="*/ 524 w 186"/>
                  <a:gd name="T15" fmla="*/ 90 h 101"/>
                  <a:gd name="T16" fmla="*/ 956 w 186"/>
                  <a:gd name="T17" fmla="*/ 525 h 10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6" h="101">
                    <a:moveTo>
                      <a:pt x="170" y="93"/>
                    </a:moveTo>
                    <a:cubicBezTo>
                      <a:pt x="170" y="97"/>
                      <a:pt x="173" y="101"/>
                      <a:pt x="178" y="101"/>
                    </a:cubicBezTo>
                    <a:cubicBezTo>
                      <a:pt x="182" y="101"/>
                      <a:pt x="186" y="97"/>
                      <a:pt x="186" y="93"/>
                    </a:cubicBezTo>
                    <a:cubicBezTo>
                      <a:pt x="186" y="42"/>
                      <a:pt x="144" y="0"/>
                      <a:pt x="93" y="0"/>
                    </a:cubicBezTo>
                    <a:cubicBezTo>
                      <a:pt x="42" y="0"/>
                      <a:pt x="0" y="42"/>
                      <a:pt x="0" y="93"/>
                    </a:cubicBezTo>
                    <a:cubicBezTo>
                      <a:pt x="0" y="97"/>
                      <a:pt x="4" y="101"/>
                      <a:pt x="8" y="101"/>
                    </a:cubicBezTo>
                    <a:cubicBezTo>
                      <a:pt x="13" y="101"/>
                      <a:pt x="16" y="97"/>
                      <a:pt x="16" y="93"/>
                    </a:cubicBezTo>
                    <a:cubicBezTo>
                      <a:pt x="16" y="51"/>
                      <a:pt x="51" y="16"/>
                      <a:pt x="93" y="16"/>
                    </a:cubicBezTo>
                    <a:cubicBezTo>
                      <a:pt x="135" y="16"/>
                      <a:pt x="170" y="51"/>
                      <a:pt x="170" y="93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45402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>
                  <a:solidFill>
                    <a:prstClr val="black"/>
                  </a:solidFill>
                  <a:ea typeface="宋体" panose="02010600030101010101" pitchFamily="2" charset="-122"/>
                </a:endParaRPr>
              </a:p>
            </p:txBody>
          </p:sp>
          <p:sp>
            <p:nvSpPr>
              <p:cNvPr id="77" name="Freeform 37"/>
              <p:cNvSpPr>
                <a:spLocks/>
              </p:cNvSpPr>
              <p:nvPr/>
            </p:nvSpPr>
            <p:spPr bwMode="auto">
              <a:xfrm>
                <a:off x="4748" y="1430"/>
                <a:ext cx="254" cy="137"/>
              </a:xfrm>
              <a:custGeom>
                <a:avLst/>
                <a:gdLst>
                  <a:gd name="T0" fmla="*/ 0 w 107"/>
                  <a:gd name="T1" fmla="*/ 302 h 58"/>
                  <a:gd name="T2" fmla="*/ 21 w 107"/>
                  <a:gd name="T3" fmla="*/ 324 h 58"/>
                  <a:gd name="T4" fmla="*/ 45 w 107"/>
                  <a:gd name="T5" fmla="*/ 302 h 58"/>
                  <a:gd name="T6" fmla="*/ 299 w 107"/>
                  <a:gd name="T7" fmla="*/ 45 h 58"/>
                  <a:gd name="T8" fmla="*/ 558 w 107"/>
                  <a:gd name="T9" fmla="*/ 302 h 58"/>
                  <a:gd name="T10" fmla="*/ 582 w 107"/>
                  <a:gd name="T11" fmla="*/ 324 h 58"/>
                  <a:gd name="T12" fmla="*/ 603 w 107"/>
                  <a:gd name="T13" fmla="*/ 302 h 58"/>
                  <a:gd name="T14" fmla="*/ 299 w 107"/>
                  <a:gd name="T15" fmla="*/ 0 h 58"/>
                  <a:gd name="T16" fmla="*/ 0 w 107"/>
                  <a:gd name="T17" fmla="*/ 302 h 5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07" h="58">
                    <a:moveTo>
                      <a:pt x="0" y="54"/>
                    </a:moveTo>
                    <a:cubicBezTo>
                      <a:pt x="0" y="56"/>
                      <a:pt x="1" y="58"/>
                      <a:pt x="4" y="58"/>
                    </a:cubicBezTo>
                    <a:cubicBezTo>
                      <a:pt x="6" y="58"/>
                      <a:pt x="8" y="56"/>
                      <a:pt x="8" y="54"/>
                    </a:cubicBezTo>
                    <a:cubicBezTo>
                      <a:pt x="8" y="29"/>
                      <a:pt x="28" y="8"/>
                      <a:pt x="53" y="8"/>
                    </a:cubicBezTo>
                    <a:cubicBezTo>
                      <a:pt x="78" y="8"/>
                      <a:pt x="99" y="29"/>
                      <a:pt x="99" y="54"/>
                    </a:cubicBezTo>
                    <a:cubicBezTo>
                      <a:pt x="99" y="56"/>
                      <a:pt x="101" y="58"/>
                      <a:pt x="103" y="58"/>
                    </a:cubicBezTo>
                    <a:cubicBezTo>
                      <a:pt x="105" y="58"/>
                      <a:pt x="107" y="56"/>
                      <a:pt x="107" y="54"/>
                    </a:cubicBezTo>
                    <a:cubicBezTo>
                      <a:pt x="107" y="24"/>
                      <a:pt x="83" y="0"/>
                      <a:pt x="53" y="0"/>
                    </a:cubicBezTo>
                    <a:cubicBezTo>
                      <a:pt x="24" y="0"/>
                      <a:pt x="0" y="24"/>
                      <a:pt x="0" y="54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45402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>
                  <a:solidFill>
                    <a:prstClr val="black"/>
                  </a:solidFill>
                  <a:ea typeface="宋体" panose="02010600030101010101" pitchFamily="2" charset="-122"/>
                </a:endParaRPr>
              </a:p>
            </p:txBody>
          </p:sp>
          <p:sp>
            <p:nvSpPr>
              <p:cNvPr id="79" name="Freeform 38"/>
              <p:cNvSpPr>
                <a:spLocks/>
              </p:cNvSpPr>
              <p:nvPr/>
            </p:nvSpPr>
            <p:spPr bwMode="auto">
              <a:xfrm>
                <a:off x="4475" y="1413"/>
                <a:ext cx="164" cy="86"/>
              </a:xfrm>
              <a:custGeom>
                <a:avLst/>
                <a:gdLst>
                  <a:gd name="T0" fmla="*/ 29 w 69"/>
                  <a:gd name="T1" fmla="*/ 69 h 36"/>
                  <a:gd name="T2" fmla="*/ 340 w 69"/>
                  <a:gd name="T3" fmla="*/ 201 h 36"/>
                  <a:gd name="T4" fmla="*/ 357 w 69"/>
                  <a:gd name="T5" fmla="*/ 205 h 36"/>
                  <a:gd name="T6" fmla="*/ 385 w 69"/>
                  <a:gd name="T7" fmla="*/ 182 h 36"/>
                  <a:gd name="T8" fmla="*/ 366 w 69"/>
                  <a:gd name="T9" fmla="*/ 136 h 36"/>
                  <a:gd name="T10" fmla="*/ 50 w 69"/>
                  <a:gd name="T11" fmla="*/ 5 h 36"/>
                  <a:gd name="T12" fmla="*/ 5 w 69"/>
                  <a:gd name="T13" fmla="*/ 24 h 36"/>
                  <a:gd name="T14" fmla="*/ 29 w 69"/>
                  <a:gd name="T15" fmla="*/ 69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9" h="36">
                    <a:moveTo>
                      <a:pt x="5" y="12"/>
                    </a:moveTo>
                    <a:cubicBezTo>
                      <a:pt x="60" y="35"/>
                      <a:pt x="60" y="35"/>
                      <a:pt x="60" y="35"/>
                    </a:cubicBezTo>
                    <a:cubicBezTo>
                      <a:pt x="61" y="36"/>
                      <a:pt x="62" y="36"/>
                      <a:pt x="63" y="36"/>
                    </a:cubicBezTo>
                    <a:cubicBezTo>
                      <a:pt x="65" y="36"/>
                      <a:pt x="67" y="35"/>
                      <a:pt x="68" y="32"/>
                    </a:cubicBezTo>
                    <a:cubicBezTo>
                      <a:pt x="69" y="29"/>
                      <a:pt x="68" y="26"/>
                      <a:pt x="65" y="24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6" y="0"/>
                      <a:pt x="3" y="1"/>
                      <a:pt x="1" y="4"/>
                    </a:cubicBezTo>
                    <a:cubicBezTo>
                      <a:pt x="0" y="8"/>
                      <a:pt x="1" y="11"/>
                      <a:pt x="5" y="12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45402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>
                  <a:solidFill>
                    <a:prstClr val="black"/>
                  </a:solidFill>
                  <a:ea typeface="宋体" panose="02010600030101010101" pitchFamily="2" charset="-122"/>
                </a:endParaRPr>
              </a:p>
            </p:txBody>
          </p:sp>
          <p:sp>
            <p:nvSpPr>
              <p:cNvPr id="80" name="Freeform 39"/>
              <p:cNvSpPr>
                <a:spLocks/>
              </p:cNvSpPr>
              <p:nvPr/>
            </p:nvSpPr>
            <p:spPr bwMode="auto">
              <a:xfrm>
                <a:off x="4641" y="1209"/>
                <a:ext cx="116" cy="145"/>
              </a:xfrm>
              <a:custGeom>
                <a:avLst/>
                <a:gdLst>
                  <a:gd name="T0" fmla="*/ 208 w 49"/>
                  <a:gd name="T1" fmla="*/ 333 h 61"/>
                  <a:gd name="T2" fmla="*/ 234 w 49"/>
                  <a:gd name="T3" fmla="*/ 345 h 61"/>
                  <a:gd name="T4" fmla="*/ 258 w 49"/>
                  <a:gd name="T5" fmla="*/ 340 h 61"/>
                  <a:gd name="T6" fmla="*/ 263 w 49"/>
                  <a:gd name="T7" fmla="*/ 295 h 61"/>
                  <a:gd name="T8" fmla="*/ 66 w 49"/>
                  <a:gd name="T9" fmla="*/ 17 h 61"/>
                  <a:gd name="T10" fmla="*/ 17 w 49"/>
                  <a:gd name="T11" fmla="*/ 12 h 61"/>
                  <a:gd name="T12" fmla="*/ 12 w 49"/>
                  <a:gd name="T13" fmla="*/ 57 h 61"/>
                  <a:gd name="T14" fmla="*/ 208 w 49"/>
                  <a:gd name="T15" fmla="*/ 333 h 6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9" h="61">
                    <a:moveTo>
                      <a:pt x="37" y="59"/>
                    </a:moveTo>
                    <a:cubicBezTo>
                      <a:pt x="39" y="60"/>
                      <a:pt x="40" y="61"/>
                      <a:pt x="42" y="61"/>
                    </a:cubicBezTo>
                    <a:cubicBezTo>
                      <a:pt x="44" y="61"/>
                      <a:pt x="45" y="61"/>
                      <a:pt x="46" y="60"/>
                    </a:cubicBezTo>
                    <a:cubicBezTo>
                      <a:pt x="49" y="58"/>
                      <a:pt x="49" y="54"/>
                      <a:pt x="47" y="52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0" y="0"/>
                      <a:pt x="6" y="0"/>
                      <a:pt x="3" y="2"/>
                    </a:cubicBezTo>
                    <a:cubicBezTo>
                      <a:pt x="0" y="3"/>
                      <a:pt x="0" y="7"/>
                      <a:pt x="2" y="10"/>
                    </a:cubicBezTo>
                    <a:lnTo>
                      <a:pt x="37" y="59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45402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>
                  <a:solidFill>
                    <a:prstClr val="black"/>
                  </a:solidFill>
                  <a:ea typeface="宋体" panose="02010600030101010101" pitchFamily="2" charset="-122"/>
                </a:endParaRPr>
              </a:p>
            </p:txBody>
          </p:sp>
          <p:sp>
            <p:nvSpPr>
              <p:cNvPr id="81" name="Freeform 40"/>
              <p:cNvSpPr>
                <a:spLocks/>
              </p:cNvSpPr>
              <p:nvPr/>
            </p:nvSpPr>
            <p:spPr bwMode="auto">
              <a:xfrm>
                <a:off x="5004" y="1216"/>
                <a:ext cx="116" cy="145"/>
              </a:xfrm>
              <a:custGeom>
                <a:avLst/>
                <a:gdLst>
                  <a:gd name="T0" fmla="*/ 17 w 49"/>
                  <a:gd name="T1" fmla="*/ 340 h 61"/>
                  <a:gd name="T2" fmla="*/ 40 w 49"/>
                  <a:gd name="T3" fmla="*/ 345 h 61"/>
                  <a:gd name="T4" fmla="*/ 66 w 49"/>
                  <a:gd name="T5" fmla="*/ 333 h 61"/>
                  <a:gd name="T6" fmla="*/ 263 w 49"/>
                  <a:gd name="T7" fmla="*/ 57 h 61"/>
                  <a:gd name="T8" fmla="*/ 258 w 49"/>
                  <a:gd name="T9" fmla="*/ 12 h 61"/>
                  <a:gd name="T10" fmla="*/ 213 w 49"/>
                  <a:gd name="T11" fmla="*/ 17 h 61"/>
                  <a:gd name="T12" fmla="*/ 12 w 49"/>
                  <a:gd name="T13" fmla="*/ 295 h 61"/>
                  <a:gd name="T14" fmla="*/ 17 w 49"/>
                  <a:gd name="T15" fmla="*/ 340 h 6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9" h="61">
                    <a:moveTo>
                      <a:pt x="3" y="60"/>
                    </a:moveTo>
                    <a:cubicBezTo>
                      <a:pt x="4" y="61"/>
                      <a:pt x="6" y="61"/>
                      <a:pt x="7" y="61"/>
                    </a:cubicBezTo>
                    <a:cubicBezTo>
                      <a:pt x="9" y="61"/>
                      <a:pt x="11" y="61"/>
                      <a:pt x="12" y="59"/>
                    </a:cubicBezTo>
                    <a:cubicBezTo>
                      <a:pt x="47" y="10"/>
                      <a:pt x="47" y="10"/>
                      <a:pt x="47" y="10"/>
                    </a:cubicBezTo>
                    <a:cubicBezTo>
                      <a:pt x="49" y="8"/>
                      <a:pt x="49" y="4"/>
                      <a:pt x="46" y="2"/>
                    </a:cubicBezTo>
                    <a:cubicBezTo>
                      <a:pt x="43" y="0"/>
                      <a:pt x="40" y="0"/>
                      <a:pt x="38" y="3"/>
                    </a:cubicBezTo>
                    <a:cubicBezTo>
                      <a:pt x="2" y="52"/>
                      <a:pt x="2" y="52"/>
                      <a:pt x="2" y="52"/>
                    </a:cubicBezTo>
                    <a:cubicBezTo>
                      <a:pt x="0" y="55"/>
                      <a:pt x="1" y="58"/>
                      <a:pt x="3" y="60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45402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>
                  <a:solidFill>
                    <a:prstClr val="black"/>
                  </a:solidFill>
                  <a:ea typeface="宋体" panose="02010600030101010101" pitchFamily="2" charset="-122"/>
                </a:endParaRPr>
              </a:p>
            </p:txBody>
          </p:sp>
          <p:sp>
            <p:nvSpPr>
              <p:cNvPr id="82" name="Freeform 41"/>
              <p:cNvSpPr>
                <a:spLocks/>
              </p:cNvSpPr>
              <p:nvPr/>
            </p:nvSpPr>
            <p:spPr bwMode="auto">
              <a:xfrm>
                <a:off x="5109" y="1413"/>
                <a:ext cx="163" cy="86"/>
              </a:xfrm>
              <a:custGeom>
                <a:avLst/>
                <a:gdLst>
                  <a:gd name="T0" fmla="*/ 5 w 69"/>
                  <a:gd name="T1" fmla="*/ 182 h 36"/>
                  <a:gd name="T2" fmla="*/ 40 w 69"/>
                  <a:gd name="T3" fmla="*/ 205 h 36"/>
                  <a:gd name="T4" fmla="*/ 50 w 69"/>
                  <a:gd name="T5" fmla="*/ 201 h 36"/>
                  <a:gd name="T6" fmla="*/ 364 w 69"/>
                  <a:gd name="T7" fmla="*/ 69 h 36"/>
                  <a:gd name="T8" fmla="*/ 380 w 69"/>
                  <a:gd name="T9" fmla="*/ 24 h 36"/>
                  <a:gd name="T10" fmla="*/ 335 w 69"/>
                  <a:gd name="T11" fmla="*/ 5 h 36"/>
                  <a:gd name="T12" fmla="*/ 21 w 69"/>
                  <a:gd name="T13" fmla="*/ 136 h 36"/>
                  <a:gd name="T14" fmla="*/ 5 w 69"/>
                  <a:gd name="T15" fmla="*/ 182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9" h="36">
                    <a:moveTo>
                      <a:pt x="1" y="32"/>
                    </a:moveTo>
                    <a:cubicBezTo>
                      <a:pt x="2" y="35"/>
                      <a:pt x="4" y="36"/>
                      <a:pt x="7" y="36"/>
                    </a:cubicBezTo>
                    <a:cubicBezTo>
                      <a:pt x="7" y="36"/>
                      <a:pt x="8" y="36"/>
                      <a:pt x="9" y="35"/>
                    </a:cubicBezTo>
                    <a:cubicBezTo>
                      <a:pt x="65" y="12"/>
                      <a:pt x="65" y="12"/>
                      <a:pt x="65" y="12"/>
                    </a:cubicBezTo>
                    <a:cubicBezTo>
                      <a:pt x="68" y="11"/>
                      <a:pt x="69" y="8"/>
                      <a:pt x="68" y="4"/>
                    </a:cubicBezTo>
                    <a:cubicBezTo>
                      <a:pt x="67" y="1"/>
                      <a:pt x="63" y="0"/>
                      <a:pt x="60" y="1"/>
                    </a:cubicBezTo>
                    <a:cubicBezTo>
                      <a:pt x="4" y="24"/>
                      <a:pt x="4" y="24"/>
                      <a:pt x="4" y="24"/>
                    </a:cubicBezTo>
                    <a:cubicBezTo>
                      <a:pt x="1" y="26"/>
                      <a:pt x="0" y="29"/>
                      <a:pt x="1" y="32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45402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>
                  <a:solidFill>
                    <a:prstClr val="black"/>
                  </a:solidFill>
                  <a:ea typeface="宋体" panose="02010600030101010101" pitchFamily="2" charset="-122"/>
                </a:endParaRPr>
              </a:p>
            </p:txBody>
          </p:sp>
          <p:sp>
            <p:nvSpPr>
              <p:cNvPr id="83" name="Freeform 42"/>
              <p:cNvSpPr>
                <a:spLocks/>
              </p:cNvSpPr>
              <p:nvPr/>
            </p:nvSpPr>
            <p:spPr bwMode="auto">
              <a:xfrm>
                <a:off x="4862" y="1223"/>
                <a:ext cx="28" cy="95"/>
              </a:xfrm>
              <a:custGeom>
                <a:avLst/>
                <a:gdLst>
                  <a:gd name="T0" fmla="*/ 33 w 12"/>
                  <a:gd name="T1" fmla="*/ 226 h 40"/>
                  <a:gd name="T2" fmla="*/ 65 w 12"/>
                  <a:gd name="T3" fmla="*/ 192 h 40"/>
                  <a:gd name="T4" fmla="*/ 65 w 12"/>
                  <a:gd name="T5" fmla="*/ 33 h 40"/>
                  <a:gd name="T6" fmla="*/ 33 w 12"/>
                  <a:gd name="T7" fmla="*/ 0 h 40"/>
                  <a:gd name="T8" fmla="*/ 0 w 12"/>
                  <a:gd name="T9" fmla="*/ 33 h 40"/>
                  <a:gd name="T10" fmla="*/ 0 w 12"/>
                  <a:gd name="T11" fmla="*/ 192 h 40"/>
                  <a:gd name="T12" fmla="*/ 33 w 12"/>
                  <a:gd name="T13" fmla="*/ 226 h 4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2" h="40">
                    <a:moveTo>
                      <a:pt x="6" y="40"/>
                    </a:moveTo>
                    <a:cubicBezTo>
                      <a:pt x="9" y="40"/>
                      <a:pt x="12" y="38"/>
                      <a:pt x="12" y="34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ubicBezTo>
                      <a:pt x="3" y="0"/>
                      <a:pt x="0" y="3"/>
                      <a:pt x="0" y="6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38"/>
                      <a:pt x="3" y="40"/>
                      <a:pt x="6" y="40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45402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>
                  <a:solidFill>
                    <a:prstClr val="black"/>
                  </a:solidFill>
                  <a:ea typeface="宋体" panose="02010600030101010101" pitchFamily="2" charset="-122"/>
                </a:endParaRPr>
              </a:p>
            </p:txBody>
          </p:sp>
          <p:sp>
            <p:nvSpPr>
              <p:cNvPr id="84" name="Freeform 43"/>
              <p:cNvSpPr>
                <a:spLocks/>
              </p:cNvSpPr>
              <p:nvPr/>
            </p:nvSpPr>
            <p:spPr bwMode="auto">
              <a:xfrm>
                <a:off x="5064" y="1351"/>
                <a:ext cx="83" cy="74"/>
              </a:xfrm>
              <a:custGeom>
                <a:avLst/>
                <a:gdLst>
                  <a:gd name="T0" fmla="*/ 17 w 35"/>
                  <a:gd name="T1" fmla="*/ 165 h 31"/>
                  <a:gd name="T2" fmla="*/ 40 w 35"/>
                  <a:gd name="T3" fmla="*/ 177 h 31"/>
                  <a:gd name="T4" fmla="*/ 62 w 35"/>
                  <a:gd name="T5" fmla="*/ 165 h 31"/>
                  <a:gd name="T6" fmla="*/ 180 w 35"/>
                  <a:gd name="T7" fmla="*/ 62 h 31"/>
                  <a:gd name="T8" fmla="*/ 180 w 35"/>
                  <a:gd name="T9" fmla="*/ 12 h 31"/>
                  <a:gd name="T10" fmla="*/ 135 w 35"/>
                  <a:gd name="T11" fmla="*/ 12 h 31"/>
                  <a:gd name="T12" fmla="*/ 17 w 35"/>
                  <a:gd name="T13" fmla="*/ 115 h 31"/>
                  <a:gd name="T14" fmla="*/ 17 w 35"/>
                  <a:gd name="T15" fmla="*/ 165 h 3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5" h="31">
                    <a:moveTo>
                      <a:pt x="3" y="29"/>
                    </a:moveTo>
                    <a:cubicBezTo>
                      <a:pt x="4" y="30"/>
                      <a:pt x="5" y="31"/>
                      <a:pt x="7" y="31"/>
                    </a:cubicBezTo>
                    <a:cubicBezTo>
                      <a:pt x="9" y="31"/>
                      <a:pt x="10" y="30"/>
                      <a:pt x="11" y="29"/>
                    </a:cubicBezTo>
                    <a:cubicBezTo>
                      <a:pt x="32" y="11"/>
                      <a:pt x="32" y="11"/>
                      <a:pt x="32" y="11"/>
                    </a:cubicBezTo>
                    <a:cubicBezTo>
                      <a:pt x="34" y="9"/>
                      <a:pt x="35" y="5"/>
                      <a:pt x="32" y="2"/>
                    </a:cubicBezTo>
                    <a:cubicBezTo>
                      <a:pt x="30" y="0"/>
                      <a:pt x="26" y="0"/>
                      <a:pt x="24" y="2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1" y="23"/>
                      <a:pt x="0" y="26"/>
                      <a:pt x="3" y="29"/>
                    </a:cubicBez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45402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>
                  <a:solidFill>
                    <a:prstClr val="black"/>
                  </a:solidFill>
                  <a:ea typeface="宋体" panose="02010600030101010101" pitchFamily="2" charset="-122"/>
                </a:endParaRPr>
              </a:p>
            </p:txBody>
          </p:sp>
          <p:sp>
            <p:nvSpPr>
              <p:cNvPr id="85" name="Freeform 44"/>
              <p:cNvSpPr>
                <a:spLocks/>
              </p:cNvSpPr>
              <p:nvPr/>
            </p:nvSpPr>
            <p:spPr bwMode="auto">
              <a:xfrm>
                <a:off x="4603" y="1342"/>
                <a:ext cx="83" cy="76"/>
              </a:xfrm>
              <a:custGeom>
                <a:avLst/>
                <a:gdLst>
                  <a:gd name="T0" fmla="*/ 135 w 35"/>
                  <a:gd name="T1" fmla="*/ 169 h 32"/>
                  <a:gd name="T2" fmla="*/ 157 w 35"/>
                  <a:gd name="T3" fmla="*/ 181 h 32"/>
                  <a:gd name="T4" fmla="*/ 180 w 35"/>
                  <a:gd name="T5" fmla="*/ 169 h 32"/>
                  <a:gd name="T6" fmla="*/ 180 w 35"/>
                  <a:gd name="T7" fmla="*/ 119 h 32"/>
                  <a:gd name="T8" fmla="*/ 62 w 35"/>
                  <a:gd name="T9" fmla="*/ 17 h 32"/>
                  <a:gd name="T10" fmla="*/ 17 w 35"/>
                  <a:gd name="T11" fmla="*/ 17 h 32"/>
                  <a:gd name="T12" fmla="*/ 17 w 35"/>
                  <a:gd name="T13" fmla="*/ 69 h 32"/>
                  <a:gd name="T14" fmla="*/ 135 w 35"/>
                  <a:gd name="T15" fmla="*/ 169 h 3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5" h="32">
                    <a:moveTo>
                      <a:pt x="24" y="30"/>
                    </a:moveTo>
                    <a:cubicBezTo>
                      <a:pt x="25" y="31"/>
                      <a:pt x="27" y="32"/>
                      <a:pt x="28" y="32"/>
                    </a:cubicBezTo>
                    <a:cubicBezTo>
                      <a:pt x="30" y="32"/>
                      <a:pt x="31" y="31"/>
                      <a:pt x="32" y="30"/>
                    </a:cubicBezTo>
                    <a:cubicBezTo>
                      <a:pt x="35" y="27"/>
                      <a:pt x="34" y="23"/>
                      <a:pt x="32" y="21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9" y="0"/>
                      <a:pt x="5" y="1"/>
                      <a:pt x="3" y="3"/>
                    </a:cubicBezTo>
                    <a:cubicBezTo>
                      <a:pt x="0" y="6"/>
                      <a:pt x="1" y="9"/>
                      <a:pt x="3" y="12"/>
                    </a:cubicBezTo>
                    <a:lnTo>
                      <a:pt x="24" y="30"/>
                    </a:lnTo>
                    <a:close/>
                  </a:path>
                </a:pathLst>
              </a:custGeom>
              <a:solidFill>
                <a:srgbClr val="59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45402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kumimoji="1" lang="zh-CN" altLang="en-US">
                  <a:solidFill>
                    <a:prstClr val="black"/>
                  </a:solidFill>
                  <a:ea typeface="宋体" panose="02010600030101010101" pitchFamily="2" charset="-122"/>
                </a:endParaRP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8165361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梯形 61">
            <a:extLst>
              <a:ext uri="{FF2B5EF4-FFF2-40B4-BE49-F238E27FC236}">
                <a16:creationId xmlns:a16="http://schemas.microsoft.com/office/drawing/2014/main" id="{CEAB3548-3212-4F11-BF1B-2542A9A2B5F8}"/>
              </a:ext>
            </a:extLst>
          </p:cNvPr>
          <p:cNvSpPr/>
          <p:nvPr/>
        </p:nvSpPr>
        <p:spPr bwMode="auto">
          <a:xfrm>
            <a:off x="2480405" y="5115609"/>
            <a:ext cx="7205142" cy="709951"/>
          </a:xfrm>
          <a:prstGeom prst="trapezoid">
            <a:avLst>
              <a:gd name="adj" fmla="val 110109"/>
            </a:avLst>
          </a:prstGeom>
          <a:gradFill>
            <a:gsLst>
              <a:gs pos="0">
                <a:srgbClr val="666666">
                  <a:lumMod val="40000"/>
                  <a:lumOff val="60000"/>
                  <a:alpha val="27000"/>
                </a:srgbClr>
              </a:gs>
              <a:gs pos="67000">
                <a:srgbClr val="666666">
                  <a:lumMod val="40000"/>
                  <a:lumOff val="60000"/>
                  <a:alpha val="0"/>
                </a:srgbClr>
              </a:gs>
            </a:gsLst>
            <a:lin ang="16200000" scaled="1"/>
          </a:gradFill>
          <a:ln w="6350" cap="flat" cmpd="sng" algn="ctr">
            <a:gradFill flip="none" rotWithShape="1">
              <a:gsLst>
                <a:gs pos="0">
                  <a:srgbClr val="666666">
                    <a:lumMod val="40000"/>
                    <a:lumOff val="60000"/>
                  </a:srgbClr>
                </a:gs>
                <a:gs pos="71000">
                  <a:srgbClr val="666666">
                    <a:lumMod val="40000"/>
                    <a:lumOff val="60000"/>
                    <a:alpha val="0"/>
                  </a:srgbClr>
                </a:gs>
              </a:gsLst>
              <a:lin ang="16200000" scaled="1"/>
              <a:tileRect/>
            </a:gradFill>
            <a:prstDash val="solid"/>
            <a:miter lim="800000"/>
          </a:ln>
          <a:effectLst>
            <a:outerShdw blurRad="50800" dist="38100" dir="5400000" sx="99000" sy="99000" algn="ctr" rotWithShape="0">
              <a:srgbClr val="000000">
                <a:alpha val="10000"/>
              </a:srgbClr>
            </a:outerShdw>
          </a:effectLst>
        </p:spPr>
        <p:txBody>
          <a:bodyPr lIns="108008" tIns="45724" rIns="91447" bIns="45724" anchor="ctr">
            <a:noAutofit/>
          </a:bodyPr>
          <a:lstStyle/>
          <a:p>
            <a:pPr defTabSz="1219540" fontAlgn="ctr">
              <a:defRPr/>
            </a:pPr>
            <a:endParaRPr lang="en-US" sz="1100" b="1" kern="0" dirty="0">
              <a:solidFill>
                <a:prstClr val="black">
                  <a:lumMod val="75000"/>
                  <a:lumOff val="25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63" name="文本框 62"/>
          <p:cNvSpPr txBox="1"/>
          <p:nvPr/>
        </p:nvSpPr>
        <p:spPr>
          <a:xfrm>
            <a:off x="3321327" y="5011670"/>
            <a:ext cx="2423686" cy="309156"/>
          </a:xfrm>
          <a:prstGeom prst="rect">
            <a:avLst/>
          </a:prstGeom>
          <a:noFill/>
          <a:ln w="3175" cap="flat">
            <a:noFill/>
            <a:miter lim="400000"/>
          </a:ln>
          <a:effectLst/>
        </p:spPr>
        <p:txBody>
          <a:bodyPr rot="0" vertOverflow="overflow" horzOverflow="overflow" vert="horz" wrap="square" lIns="15923" tIns="15923" rIns="15923" bIns="15923" numCol="1" spcCol="38100" rtlCol="0" anchor="t" forceAA="0">
            <a:spAutoFit/>
          </a:bodyPr>
          <a:lstStyle>
            <a:defPPr>
              <a:defRPr lang="zh-CN"/>
            </a:defPPr>
            <a:lvl1pPr algn="ctr" defTabSz="765919" hangingPunct="0">
              <a:defRPr sz="1667" b="1" kern="0">
                <a:solidFill>
                  <a:schemeClr val="bg2">
                    <a:lumMod val="10000"/>
                  </a:schemeClr>
                </a:solidFill>
                <a:latin typeface="Huawei Sans" panose="020C0503030203020204" pitchFamily="34" charset="0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pPr marL="0" marR="0" lvl="0" indent="0" algn="ctr" defTabSz="765919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Huawei Sans" panose="020C0503030203020204" pitchFamily="34" charset="0"/>
                <a:ea typeface="微软雅黑" panose="020B0503020204020204" pitchFamily="34" charset="-122"/>
              </a:rPr>
              <a:t>USD $10</a:t>
            </a:r>
            <a:r>
              <a: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Huawei Sans" panose="020C0503030203020204" pitchFamily="34" charset="0"/>
                <a:ea typeface="微软雅黑" panose="020B0503020204020204" pitchFamily="34" charset="-122"/>
              </a:rPr>
              <a:t>亿</a:t>
            </a:r>
          </a:p>
        </p:txBody>
      </p:sp>
      <p:sp>
        <p:nvSpPr>
          <p:cNvPr id="64" name="文本框 63"/>
          <p:cNvSpPr txBox="1"/>
          <p:nvPr/>
        </p:nvSpPr>
        <p:spPr>
          <a:xfrm>
            <a:off x="3292400" y="5425136"/>
            <a:ext cx="2654693" cy="216823"/>
          </a:xfrm>
          <a:prstGeom prst="rect">
            <a:avLst/>
          </a:prstGeom>
          <a:noFill/>
          <a:ln w="3175" cap="flat">
            <a:noFill/>
            <a:miter lim="400000"/>
          </a:ln>
          <a:effectLst/>
        </p:spPr>
        <p:txBody>
          <a:bodyPr rot="0" vertOverflow="overflow" horzOverflow="overflow" vert="horz" wrap="square" lIns="15923" tIns="15923" rIns="15923" bIns="15923" numCol="1" spcCol="38100" rtlCol="0" anchor="t" forceAA="0">
            <a:spAutoFit/>
          </a:bodyPr>
          <a:lstStyle/>
          <a:p>
            <a:pPr algn="ctr" defTabSz="765919" hangingPunct="0">
              <a:defRPr/>
            </a:pPr>
            <a:r>
              <a:rPr lang="zh-CN" altLang="en-US" sz="1200" kern="0" dirty="0">
                <a:solidFill>
                  <a:srgbClr val="E7E6E6">
                    <a:lumMod val="10000"/>
                  </a:srgbClr>
                </a:solidFill>
                <a:latin typeface="Huawei Sans" panose="020C0503030203020204" pitchFamily="34" charset="0"/>
                <a:cs typeface="微软雅黑" panose="020B0503020204020204" pitchFamily="34" charset="-122"/>
                <a:sym typeface="+mn-ea"/>
              </a:rPr>
              <a:t>每年研发投入</a:t>
            </a:r>
          </a:p>
        </p:txBody>
      </p:sp>
      <p:grpSp>
        <p:nvGrpSpPr>
          <p:cNvPr id="65" name="组合 64"/>
          <p:cNvGrpSpPr/>
          <p:nvPr/>
        </p:nvGrpSpPr>
        <p:grpSpPr>
          <a:xfrm>
            <a:off x="6964877" y="4963294"/>
            <a:ext cx="2869526" cy="461665"/>
            <a:chOff x="5261318" y="3063080"/>
            <a:chExt cx="2409909" cy="387719"/>
          </a:xfrm>
        </p:grpSpPr>
        <p:sp>
          <p:nvSpPr>
            <p:cNvPr id="66" name="文本框 65"/>
            <p:cNvSpPr txBox="1"/>
            <p:nvPr/>
          </p:nvSpPr>
          <p:spPr>
            <a:xfrm>
              <a:off x="5261318" y="3063080"/>
              <a:ext cx="1098531" cy="387719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 defTabSz="945869">
                <a:defRPr/>
              </a:pPr>
              <a:r>
                <a:rPr lang="en-US" altLang="zh-CN" sz="2400" kern="0" dirty="0">
                  <a:solidFill>
                    <a:prstClr val="black"/>
                  </a:solidFill>
                  <a:cs typeface="Arial" panose="020B0604020202020204" pitchFamily="34" charset="0"/>
                </a:rPr>
                <a:t>5000</a:t>
              </a:r>
            </a:p>
          </p:txBody>
        </p:sp>
        <p:sp>
          <p:nvSpPr>
            <p:cNvPr id="67" name="文本框 66"/>
            <p:cNvSpPr txBox="1"/>
            <p:nvPr/>
          </p:nvSpPr>
          <p:spPr>
            <a:xfrm>
              <a:off x="5497704" y="3146674"/>
              <a:ext cx="2173523" cy="207942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</p:spPr>
          <p:txBody>
            <a:bodyPr rot="0" vertOverflow="overflow" horzOverflow="overflow" vert="horz" wrap="square" lIns="15923" tIns="15923" rIns="15923" bIns="15923" numCol="1" spcCol="38100" rtlCol="0" anchor="t" forceAA="0">
              <a:spAutoFit/>
            </a:bodyPr>
            <a:lstStyle>
              <a:defPPr>
                <a:defRPr lang="ko-KR"/>
              </a:defPPr>
              <a:lvl1pPr algn="ctr" defTabSz="765919" latinLnBrk="0" hangingPunct="0">
                <a:defRPr sz="1667" b="1" kern="0">
                  <a:solidFill>
                    <a:schemeClr val="bg2">
                      <a:lumMod val="10000"/>
                    </a:schemeClr>
                  </a:solidFill>
                  <a:latin typeface="Huawei Sans" panose="020C0503030203020204" pitchFamily="34" charset="0"/>
                  <a:ea typeface="微软雅黑" panose="020B0503020204020204" pitchFamily="34" charset="-122"/>
                  <a:cs typeface="微软雅黑" panose="020B0503020204020204" pitchFamily="34" charset="-122"/>
                </a:defRPr>
              </a:lvl1pPr>
            </a:lstStyle>
            <a:p>
              <a:endParaRPr lang="zh-CN" altLang="en-US" sz="1400" dirty="0">
                <a:solidFill>
                  <a:srgbClr val="E7E6E6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endParaRPr>
            </a:p>
          </p:txBody>
        </p:sp>
      </p:grpSp>
      <p:grpSp>
        <p:nvGrpSpPr>
          <p:cNvPr id="68" name="组合 67"/>
          <p:cNvGrpSpPr/>
          <p:nvPr/>
        </p:nvGrpSpPr>
        <p:grpSpPr>
          <a:xfrm>
            <a:off x="2149691" y="2183939"/>
            <a:ext cx="2533716" cy="2029389"/>
            <a:chOff x="7669372" y="2552568"/>
            <a:chExt cx="2127885" cy="1704336"/>
          </a:xfrm>
        </p:grpSpPr>
        <p:grpSp>
          <p:nvGrpSpPr>
            <p:cNvPr id="69" name="组合 68"/>
            <p:cNvGrpSpPr/>
            <p:nvPr/>
          </p:nvGrpSpPr>
          <p:grpSpPr>
            <a:xfrm>
              <a:off x="8075337" y="2552568"/>
              <a:ext cx="1285240" cy="1285875"/>
              <a:chOff x="8753675" y="1245115"/>
              <a:chExt cx="1285240" cy="1285875"/>
            </a:xfrm>
          </p:grpSpPr>
          <p:grpSp>
            <p:nvGrpSpPr>
              <p:cNvPr id="71" name="成组"/>
              <p:cNvGrpSpPr/>
              <p:nvPr/>
            </p:nvGrpSpPr>
            <p:grpSpPr>
              <a:xfrm>
                <a:off x="8753675" y="1245115"/>
                <a:ext cx="1285240" cy="1285875"/>
                <a:chOff x="-16732" y="-16724"/>
                <a:chExt cx="1400140" cy="1400140"/>
              </a:xfrm>
            </p:grpSpPr>
            <p:sp>
              <p:nvSpPr>
                <p:cNvPr id="73" name="圆形"/>
                <p:cNvSpPr/>
                <p:nvPr/>
              </p:nvSpPr>
              <p:spPr>
                <a:xfrm>
                  <a:off x="76765" y="76766"/>
                  <a:ext cx="1240265" cy="1240264"/>
                </a:xfrm>
                <a:prstGeom prst="ellipse">
                  <a:avLst/>
                </a:prstGeom>
                <a:solidFill>
                  <a:srgbClr val="DBDBDB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17407" tIns="17407" rIns="17407" bIns="17407" numCol="1" anchor="ctr">
                  <a:noAutofit/>
                </a:bodyPr>
                <a:lstStyle/>
                <a:p>
                  <a:pPr marL="0" marR="0" lvl="0" indent="0" algn="ctr" defTabSz="492214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072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Huawei Sans" panose="020C0503030203020204" pitchFamily="34" charset="0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74" name="圆形"/>
                <p:cNvSpPr/>
                <p:nvPr/>
              </p:nvSpPr>
              <p:spPr>
                <a:xfrm>
                  <a:off x="-16732" y="-16724"/>
                  <a:ext cx="1400140" cy="1400140"/>
                </a:xfrm>
                <a:prstGeom prst="ellipse">
                  <a:avLst/>
                </a:prstGeom>
                <a:noFill/>
                <a:ln w="12700" cap="flat">
                  <a:solidFill>
                    <a:sysClr val="window" lastClr="FFFFFF">
                      <a:lumMod val="75000"/>
                    </a:sysClr>
                  </a:solidFill>
                  <a:prstDash val="solid"/>
                  <a:miter lim="800000"/>
                </a:ln>
                <a:effectLst/>
              </p:spPr>
              <p:txBody>
                <a:bodyPr wrap="square" lIns="17407" tIns="17407" rIns="17407" bIns="17407" numCol="1" anchor="ctr">
                  <a:noAutofit/>
                </a:bodyPr>
                <a:lstStyle/>
                <a:p>
                  <a:pPr marL="0" marR="0" lvl="0" indent="0" algn="ctr" defTabSz="492214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072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Huawei Sans" panose="020C0503030203020204" pitchFamily="34" charset="0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sp>
            <p:nvSpPr>
              <p:cNvPr id="72" name="文本框 71"/>
              <p:cNvSpPr txBox="1"/>
              <p:nvPr/>
            </p:nvSpPr>
            <p:spPr>
              <a:xfrm>
                <a:off x="8951913" y="1649188"/>
                <a:ext cx="919480" cy="508450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spAutoFit/>
              </a:bodyPr>
              <a:lstStyle/>
              <a:p>
                <a:pPr marL="0" marR="0" lvl="0" indent="0" algn="ctr" defTabSz="94586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333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30+</a:t>
                </a:r>
              </a:p>
            </p:txBody>
          </p:sp>
        </p:grpSp>
        <p:sp>
          <p:nvSpPr>
            <p:cNvPr id="70" name="文本框 69"/>
            <p:cNvSpPr txBox="1"/>
            <p:nvPr/>
          </p:nvSpPr>
          <p:spPr>
            <a:xfrm>
              <a:off x="7669372" y="4014444"/>
              <a:ext cx="2127885" cy="242460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</p:spPr>
          <p:txBody>
            <a:bodyPr rot="0" vertOverflow="overflow" horzOverflow="overflow" vert="horz" wrap="square" lIns="15923" tIns="15923" rIns="15923" bIns="15923" numCol="1" spcCol="38100" rtlCol="0" anchor="t" forceAA="0">
              <a:spAutoFit/>
            </a:bodyPr>
            <a:lstStyle>
              <a:defPPr>
                <a:defRPr lang="ko-KR"/>
              </a:defPPr>
              <a:lvl1pPr algn="ctr" defTabSz="765919" latinLnBrk="0" hangingPunct="0">
                <a:defRPr sz="1667" b="1" kern="0">
                  <a:solidFill>
                    <a:schemeClr val="bg2">
                      <a:lumMod val="10000"/>
                    </a:schemeClr>
                  </a:solidFill>
                  <a:latin typeface="Huawei Sans" panose="020C0503030203020204" pitchFamily="34" charset="0"/>
                  <a:ea typeface="微软雅黑" panose="020B0503020204020204" pitchFamily="34" charset="-122"/>
                  <a:cs typeface="微软雅黑" panose="020B0503020204020204" pitchFamily="34" charset="-122"/>
                </a:defRPr>
              </a:lvl1pPr>
            </a:lstStyle>
            <a:p>
              <a:pPr marL="0" marR="0" lvl="0" indent="0" algn="ctr" defTabSz="765919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67" b="0" i="0" u="none" strike="noStrike" kern="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Huawei Sans" panose="020C0503030203020204" pitchFamily="34" charset="0"/>
                  <a:ea typeface="微软雅黑" panose="020B0503020204020204" pitchFamily="34" charset="-122"/>
                  <a:sym typeface="+mn-ea"/>
                </a:rPr>
                <a:t>可商用智能化部件</a:t>
              </a:r>
            </a:p>
          </p:txBody>
        </p:sp>
      </p:grpSp>
      <p:grpSp>
        <p:nvGrpSpPr>
          <p:cNvPr id="75" name="组合 74"/>
          <p:cNvGrpSpPr/>
          <p:nvPr/>
        </p:nvGrpSpPr>
        <p:grpSpPr>
          <a:xfrm>
            <a:off x="4789861" y="2205626"/>
            <a:ext cx="2533716" cy="2011099"/>
            <a:chOff x="7669372" y="2567928"/>
            <a:chExt cx="2127885" cy="1688976"/>
          </a:xfrm>
        </p:grpSpPr>
        <p:grpSp>
          <p:nvGrpSpPr>
            <p:cNvPr id="76" name="组合 75"/>
            <p:cNvGrpSpPr/>
            <p:nvPr/>
          </p:nvGrpSpPr>
          <p:grpSpPr>
            <a:xfrm>
              <a:off x="8090695" y="2567928"/>
              <a:ext cx="1285240" cy="1285875"/>
              <a:chOff x="8769033" y="1260475"/>
              <a:chExt cx="1285240" cy="1285875"/>
            </a:xfrm>
          </p:grpSpPr>
          <p:grpSp>
            <p:nvGrpSpPr>
              <p:cNvPr id="78" name="成组"/>
              <p:cNvGrpSpPr/>
              <p:nvPr/>
            </p:nvGrpSpPr>
            <p:grpSpPr>
              <a:xfrm>
                <a:off x="8769033" y="1260475"/>
                <a:ext cx="1285240" cy="1285875"/>
                <a:chOff x="0" y="0"/>
                <a:chExt cx="1400140" cy="1400140"/>
              </a:xfrm>
            </p:grpSpPr>
            <p:sp>
              <p:nvSpPr>
                <p:cNvPr id="80" name="圆形"/>
                <p:cNvSpPr/>
                <p:nvPr/>
              </p:nvSpPr>
              <p:spPr>
                <a:xfrm>
                  <a:off x="96222" y="76766"/>
                  <a:ext cx="1240265" cy="1240264"/>
                </a:xfrm>
                <a:prstGeom prst="ellipse">
                  <a:avLst/>
                </a:prstGeom>
                <a:solidFill>
                  <a:srgbClr val="DBDBDB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17407" tIns="17407" rIns="17407" bIns="17407" numCol="1" anchor="ctr">
                  <a:noAutofit/>
                </a:bodyPr>
                <a:lstStyle/>
                <a:p>
                  <a:pPr marL="0" marR="0" lvl="0" indent="0" algn="ctr" defTabSz="492214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072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Huawei Sans" panose="020C0503030203020204" pitchFamily="34" charset="0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81" name="圆形"/>
                <p:cNvSpPr/>
                <p:nvPr/>
              </p:nvSpPr>
              <p:spPr>
                <a:xfrm>
                  <a:off x="0" y="0"/>
                  <a:ext cx="1400140" cy="1400140"/>
                </a:xfrm>
                <a:prstGeom prst="ellipse">
                  <a:avLst/>
                </a:prstGeom>
                <a:noFill/>
                <a:ln w="12700" cap="flat">
                  <a:solidFill>
                    <a:sysClr val="window" lastClr="FFFFFF">
                      <a:lumMod val="75000"/>
                    </a:sysClr>
                  </a:solidFill>
                  <a:prstDash val="solid"/>
                  <a:miter lim="800000"/>
                </a:ln>
                <a:effectLst/>
              </p:spPr>
              <p:txBody>
                <a:bodyPr wrap="square" lIns="17407" tIns="17407" rIns="17407" bIns="17407" numCol="1" anchor="ctr">
                  <a:noAutofit/>
                </a:bodyPr>
                <a:lstStyle/>
                <a:p>
                  <a:pPr marL="0" marR="0" lvl="0" indent="0" algn="ctr" defTabSz="492214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072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Huawei Sans" panose="020C0503030203020204" pitchFamily="34" charset="0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sp>
            <p:nvSpPr>
              <p:cNvPr id="79" name="文本框 78"/>
              <p:cNvSpPr txBox="1"/>
              <p:nvPr/>
            </p:nvSpPr>
            <p:spPr>
              <a:xfrm>
                <a:off x="8951913" y="1649188"/>
                <a:ext cx="919480" cy="508450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spAutoFit/>
              </a:bodyPr>
              <a:lstStyle/>
              <a:p>
                <a:pPr marL="0" marR="0" lvl="0" indent="0" algn="ctr" defTabSz="94586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333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30+</a:t>
                </a:r>
              </a:p>
            </p:txBody>
          </p:sp>
        </p:grpSp>
        <p:sp>
          <p:nvSpPr>
            <p:cNvPr id="77" name="文本框 76"/>
            <p:cNvSpPr txBox="1"/>
            <p:nvPr/>
          </p:nvSpPr>
          <p:spPr>
            <a:xfrm>
              <a:off x="7669372" y="4014444"/>
              <a:ext cx="2127885" cy="242460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</p:spPr>
          <p:txBody>
            <a:bodyPr rot="0" vertOverflow="overflow" horzOverflow="overflow" vert="horz" wrap="square" lIns="15923" tIns="15923" rIns="15923" bIns="15923" numCol="1" spcCol="38100" rtlCol="0" anchor="t" forceAA="0">
              <a:spAutoFit/>
            </a:bodyPr>
            <a:lstStyle>
              <a:defPPr>
                <a:defRPr lang="ko-KR"/>
              </a:defPPr>
              <a:lvl1pPr algn="ctr" defTabSz="765919" latinLnBrk="0" hangingPunct="0">
                <a:defRPr sz="1667" b="1" kern="0">
                  <a:solidFill>
                    <a:schemeClr val="bg2">
                      <a:lumMod val="10000"/>
                    </a:schemeClr>
                  </a:solidFill>
                  <a:latin typeface="Huawei Sans" panose="020C0503030203020204" pitchFamily="34" charset="0"/>
                  <a:ea typeface="微软雅黑" panose="020B0503020204020204" pitchFamily="34" charset="-122"/>
                  <a:cs typeface="微软雅黑" panose="020B0503020204020204" pitchFamily="34" charset="-122"/>
                </a:defRPr>
              </a:lvl1pPr>
            </a:lstStyle>
            <a:p>
              <a:pPr marL="0" marR="0" lvl="0" indent="0" algn="ctr" defTabSz="765919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67" b="0" i="0" u="none" strike="noStrike" kern="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Huawei Sans" panose="020C0503030203020204" pitchFamily="34" charset="0"/>
                  <a:ea typeface="微软雅黑" panose="020B0503020204020204" pitchFamily="34" charset="-122"/>
                  <a:sym typeface="+mn-ea"/>
                </a:rPr>
                <a:t>汽车行业认证</a:t>
              </a:r>
            </a:p>
          </p:txBody>
        </p:sp>
      </p:grpSp>
      <p:grpSp>
        <p:nvGrpSpPr>
          <p:cNvPr id="82" name="组合 81"/>
          <p:cNvGrpSpPr/>
          <p:nvPr/>
        </p:nvGrpSpPr>
        <p:grpSpPr>
          <a:xfrm>
            <a:off x="7258853" y="2205626"/>
            <a:ext cx="2533716" cy="2011099"/>
            <a:chOff x="7669372" y="2567928"/>
            <a:chExt cx="2127885" cy="1688976"/>
          </a:xfrm>
        </p:grpSpPr>
        <p:grpSp>
          <p:nvGrpSpPr>
            <p:cNvPr id="83" name="组合 82"/>
            <p:cNvGrpSpPr/>
            <p:nvPr/>
          </p:nvGrpSpPr>
          <p:grpSpPr>
            <a:xfrm>
              <a:off x="8090695" y="2567928"/>
              <a:ext cx="1285240" cy="1285875"/>
              <a:chOff x="8769033" y="1260475"/>
              <a:chExt cx="1285240" cy="1285875"/>
            </a:xfrm>
          </p:grpSpPr>
          <p:grpSp>
            <p:nvGrpSpPr>
              <p:cNvPr id="85" name="成组"/>
              <p:cNvGrpSpPr/>
              <p:nvPr/>
            </p:nvGrpSpPr>
            <p:grpSpPr>
              <a:xfrm>
                <a:off x="8769033" y="1260475"/>
                <a:ext cx="1285240" cy="1285875"/>
                <a:chOff x="0" y="0"/>
                <a:chExt cx="1400140" cy="1400140"/>
              </a:xfrm>
            </p:grpSpPr>
            <p:sp>
              <p:nvSpPr>
                <p:cNvPr id="87" name="圆形"/>
                <p:cNvSpPr/>
                <p:nvPr/>
              </p:nvSpPr>
              <p:spPr>
                <a:xfrm>
                  <a:off x="94194" y="85476"/>
                  <a:ext cx="1240265" cy="1240264"/>
                </a:xfrm>
                <a:prstGeom prst="ellipse">
                  <a:avLst/>
                </a:prstGeom>
                <a:solidFill>
                  <a:srgbClr val="DBDBDB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17407" tIns="17407" rIns="17407" bIns="17407" numCol="1" anchor="ctr">
                  <a:noAutofit/>
                </a:bodyPr>
                <a:lstStyle/>
                <a:p>
                  <a:pPr marL="0" marR="0" lvl="0" indent="0" algn="ctr" defTabSz="492214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072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Huawei Sans" panose="020C0503030203020204" pitchFamily="34" charset="0"/>
                    <a:cs typeface="Arial" panose="020B0604020202020204"/>
                    <a:sym typeface="Arial" panose="020B0604020202020204"/>
                  </a:endParaRPr>
                </a:p>
              </p:txBody>
            </p:sp>
            <p:sp>
              <p:nvSpPr>
                <p:cNvPr id="88" name="圆形"/>
                <p:cNvSpPr/>
                <p:nvPr/>
              </p:nvSpPr>
              <p:spPr>
                <a:xfrm>
                  <a:off x="0" y="0"/>
                  <a:ext cx="1400140" cy="1400140"/>
                </a:xfrm>
                <a:prstGeom prst="ellipse">
                  <a:avLst/>
                </a:prstGeom>
                <a:noFill/>
                <a:ln w="12700" cap="flat">
                  <a:solidFill>
                    <a:sysClr val="window" lastClr="FFFFFF">
                      <a:lumMod val="75000"/>
                    </a:sysClr>
                  </a:solidFill>
                  <a:prstDash val="solid"/>
                  <a:miter lim="800000"/>
                </a:ln>
                <a:effectLst/>
              </p:spPr>
              <p:txBody>
                <a:bodyPr wrap="square" lIns="17407" tIns="17407" rIns="17407" bIns="17407" numCol="1" anchor="ctr">
                  <a:noAutofit/>
                </a:bodyPr>
                <a:lstStyle/>
                <a:p>
                  <a:pPr marL="0" marR="0" lvl="0" indent="0" algn="ctr" defTabSz="492214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072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Huawei Sans" panose="020C0503030203020204" pitchFamily="34" charset="0"/>
                    <a:cs typeface="Arial" panose="020B0604020202020204"/>
                    <a:sym typeface="Arial" panose="020B0604020202020204"/>
                  </a:endParaRPr>
                </a:p>
              </p:txBody>
            </p:sp>
          </p:grpSp>
          <p:sp>
            <p:nvSpPr>
              <p:cNvPr id="86" name="文本框 85"/>
              <p:cNvSpPr txBox="1"/>
              <p:nvPr/>
            </p:nvSpPr>
            <p:spPr>
              <a:xfrm>
                <a:off x="8927915" y="1657188"/>
                <a:ext cx="1026071" cy="508450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spAutoFit/>
              </a:bodyPr>
              <a:lstStyle>
                <a:defPPr>
                  <a:defRPr lang="zh-CN"/>
                </a:defPPr>
                <a:lvl1pPr algn="ctr" defTabSz="945869">
                  <a:defRPr sz="3334" b="1" kern="0">
                    <a:solidFill>
                      <a:prstClr val="white"/>
                    </a:solidFill>
                    <a:latin typeface="Huawei Sans" panose="020C0503030203020204" pitchFamily="34" charset="0"/>
                    <a:ea typeface="微软雅黑" panose="020B0503020204020204" pitchFamily="34" charset="-122"/>
                    <a:cs typeface="微软雅黑" panose="020B0503020204020204" pitchFamily="34" charset="-122"/>
                  </a:defRPr>
                </a:lvl1pPr>
              </a:lstStyle>
              <a:p>
                <a:pPr marL="0" marR="0" lvl="0" indent="0" algn="ctr" defTabSz="94586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3334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rPr>
                  <a:t>300+</a:t>
                </a:r>
              </a:p>
            </p:txBody>
          </p:sp>
        </p:grpSp>
        <p:sp>
          <p:nvSpPr>
            <p:cNvPr id="84" name="文本框 83"/>
            <p:cNvSpPr txBox="1"/>
            <p:nvPr/>
          </p:nvSpPr>
          <p:spPr>
            <a:xfrm>
              <a:off x="7669372" y="4014444"/>
              <a:ext cx="2127885" cy="242460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</p:spPr>
          <p:txBody>
            <a:bodyPr rot="0" vertOverflow="overflow" horzOverflow="overflow" vert="horz" wrap="square" lIns="15923" tIns="15923" rIns="15923" bIns="15923" numCol="1" spcCol="38100" rtlCol="0" anchor="t" forceAA="0">
              <a:spAutoFit/>
            </a:bodyPr>
            <a:lstStyle>
              <a:defPPr>
                <a:defRPr lang="zh-CN"/>
              </a:defPPr>
              <a:lvl1pPr algn="ctr" defTabSz="765919" hangingPunct="0">
                <a:defRPr sz="1667" b="1" kern="0">
                  <a:solidFill>
                    <a:schemeClr val="bg2">
                      <a:lumMod val="10000"/>
                    </a:schemeClr>
                  </a:solidFill>
                  <a:latin typeface="Huawei Sans" panose="020C0503030203020204" pitchFamily="34" charset="0"/>
                  <a:ea typeface="微软雅黑" panose="020B0503020204020204" pitchFamily="34" charset="-122"/>
                  <a:cs typeface="微软雅黑" panose="020B0503020204020204" pitchFamily="34" charset="-122"/>
                </a:defRPr>
              </a:lvl1pPr>
            </a:lstStyle>
            <a:p>
              <a:pPr marL="0" marR="0" lvl="0" indent="0" algn="ctr" defTabSz="765919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67" b="0" i="0" u="none" strike="noStrike" kern="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Huawei Sans" panose="020C0503030203020204" pitchFamily="34" charset="0"/>
                  <a:ea typeface="微软雅黑" panose="020B0503020204020204" pitchFamily="34" charset="-122"/>
                  <a:sym typeface="+mn-ea"/>
                </a:rPr>
                <a:t>生态合作伙伴</a:t>
              </a:r>
            </a:p>
          </p:txBody>
        </p:sp>
      </p:grpSp>
      <p:sp>
        <p:nvSpPr>
          <p:cNvPr id="89" name="矩形 88"/>
          <p:cNvSpPr/>
          <p:nvPr/>
        </p:nvSpPr>
        <p:spPr>
          <a:xfrm>
            <a:off x="3925699" y="1575936"/>
            <a:ext cx="427392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400"/>
            <a:r>
              <a:rPr lang="zh-CN" altLang="en-US" sz="1600" dirty="0">
                <a:solidFill>
                  <a:prstClr val="black"/>
                </a:solidFill>
                <a:latin typeface="方正兰亭粗黑简体" panose="02000000000000000000" pitchFamily="2" charset="-122"/>
                <a:ea typeface="方正兰亭粗黑简体"/>
                <a:cs typeface="+mn-ea"/>
                <a:sym typeface="+mn-lt"/>
              </a:rPr>
              <a:t>华为不造车，聚焦</a:t>
            </a:r>
            <a:r>
              <a:rPr lang="en-US" altLang="zh-CN" sz="1600" dirty="0">
                <a:solidFill>
                  <a:prstClr val="black"/>
                </a:solidFill>
                <a:latin typeface="Arial" panose="020B0604020202020204" pitchFamily="34" charset="0"/>
                <a:ea typeface="方正兰亭粗黑简体"/>
                <a:cs typeface="Arial" panose="020B0604020202020204" pitchFamily="34" charset="0"/>
                <a:sym typeface="+mn-lt"/>
              </a:rPr>
              <a:t>ICT</a:t>
            </a:r>
            <a:r>
              <a:rPr lang="zh-CN" altLang="en-US" sz="1600" dirty="0">
                <a:solidFill>
                  <a:prstClr val="black"/>
                </a:solidFill>
                <a:latin typeface="方正兰亭粗黑简体" panose="02000000000000000000" pitchFamily="2" charset="-122"/>
                <a:ea typeface="方正兰亭粗黑简体"/>
                <a:cs typeface="+mn-ea"/>
                <a:sym typeface="+mn-lt"/>
              </a:rPr>
              <a:t>技术，帮助车企造好车</a:t>
            </a:r>
          </a:p>
        </p:txBody>
      </p:sp>
      <p:sp>
        <p:nvSpPr>
          <p:cNvPr id="90" name="矩形 89"/>
          <p:cNvSpPr/>
          <p:nvPr/>
        </p:nvSpPr>
        <p:spPr>
          <a:xfrm>
            <a:off x="7094396" y="5395691"/>
            <a:ext cx="110799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sym typeface="+mn-ea"/>
              </a:rPr>
              <a:t>研发人员数量</a:t>
            </a:r>
          </a:p>
        </p:txBody>
      </p:sp>
      <p:sp>
        <p:nvSpPr>
          <p:cNvPr id="91" name="矩形 90"/>
          <p:cNvSpPr/>
          <p:nvPr/>
        </p:nvSpPr>
        <p:spPr>
          <a:xfrm>
            <a:off x="651615" y="384265"/>
            <a:ext cx="11545148" cy="523220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defTabSz="816578" fontAlgn="ctr"/>
            <a:r>
              <a:rPr lang="zh-CN" altLang="en-US" sz="2800" dirty="0">
                <a:solidFill>
                  <a:srgbClr val="E7E6E6">
                    <a:lumMod val="1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Huawei Sans" panose="020C0503030203020204" pitchFamily="34" charset="0"/>
              </a:rPr>
              <a:t>智能汽车解决方案业务：快速发展，携手生态伙伴加速汽车产业智能化</a:t>
            </a:r>
            <a:endParaRPr lang="zh-CN" altLang="en-US" sz="28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" name="直接连接符 2"/>
          <p:cNvCxnSpPr/>
          <p:nvPr/>
        </p:nvCxnSpPr>
        <p:spPr>
          <a:xfrm>
            <a:off x="5152835" y="1995949"/>
            <a:ext cx="1722046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1098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" name="组合 99">
            <a:extLst>
              <a:ext uri="{FF2B5EF4-FFF2-40B4-BE49-F238E27FC236}">
                <a16:creationId xmlns:a16="http://schemas.microsoft.com/office/drawing/2014/main" id="{2EE1899B-2B58-4243-BBBC-3AEF40ABE609}"/>
              </a:ext>
            </a:extLst>
          </p:cNvPr>
          <p:cNvGrpSpPr>
            <a:grpSpLocks/>
          </p:cNvGrpSpPr>
          <p:nvPr/>
        </p:nvGrpSpPr>
        <p:grpSpPr>
          <a:xfrm>
            <a:off x="6275042" y="1154057"/>
            <a:ext cx="5189993" cy="2274943"/>
            <a:chOff x="715626" y="1154057"/>
            <a:chExt cx="5206939" cy="2191291"/>
          </a:xfrm>
        </p:grpSpPr>
        <p:sp>
          <p:nvSpPr>
            <p:cNvPr id="101" name="圆角矩形 67">
              <a:extLst>
                <a:ext uri="{FF2B5EF4-FFF2-40B4-BE49-F238E27FC236}">
                  <a16:creationId xmlns:a16="http://schemas.microsoft.com/office/drawing/2014/main" id="{0ABE7491-C693-4A7B-A776-AD4E0805553C}"/>
                </a:ext>
              </a:extLst>
            </p:cNvPr>
            <p:cNvSpPr/>
            <p:nvPr/>
          </p:nvSpPr>
          <p:spPr bwMode="auto">
            <a:xfrm>
              <a:off x="724556" y="1163036"/>
              <a:ext cx="5189992" cy="2182311"/>
            </a:xfrm>
            <a:prstGeom prst="roundRect">
              <a:avLst>
                <a:gd name="adj" fmla="val 0"/>
              </a:avLst>
            </a:prstGeom>
            <a:noFill/>
            <a:ln w="12700" cap="flat" cmpd="sng" algn="ctr">
              <a:solidFill>
                <a:schemeClr val="tx1">
                  <a:lumMod val="10000"/>
                  <a:lumOff val="90000"/>
                </a:schemeClr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defTabSz="871336" fontAlgn="ctr">
                <a:defRPr/>
              </a:pPr>
              <a:endParaRPr lang="en-US" altLang="zh-CN" kern="0" dirty="0">
                <a:solidFill>
                  <a:srgbClr val="1D1D1A"/>
                </a:solidFill>
              </a:endParaRPr>
            </a:p>
          </p:txBody>
        </p:sp>
        <p:sp>
          <p:nvSpPr>
            <p:cNvPr id="102" name="文本框 226">
              <a:extLst>
                <a:ext uri="{FF2B5EF4-FFF2-40B4-BE49-F238E27FC236}">
                  <a16:creationId xmlns:a16="http://schemas.microsoft.com/office/drawing/2014/main" id="{BC1BF541-5DB2-49D0-AE43-B5CA74DBC1D0}"/>
                </a:ext>
              </a:extLst>
            </p:cNvPr>
            <p:cNvSpPr txBox="1"/>
            <p:nvPr/>
          </p:nvSpPr>
          <p:spPr>
            <a:xfrm>
              <a:off x="855595" y="1303029"/>
              <a:ext cx="4927914" cy="1902325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38000">
                  <a:srgbClr val="666666">
                    <a:lumMod val="60000"/>
                    <a:lumOff val="40000"/>
                    <a:alpha val="2000"/>
                  </a:srgbClr>
                </a:gs>
                <a:gs pos="100000">
                  <a:srgbClr val="666666">
                    <a:lumMod val="60000"/>
                    <a:lumOff val="40000"/>
                    <a:alpha val="15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 algn="ctr">
              <a:gradFill flip="none" rotWithShape="1">
                <a:gsLst>
                  <a:gs pos="0">
                    <a:srgbClr val="666666">
                      <a:lumMod val="60000"/>
                      <a:lumOff val="40000"/>
                      <a:alpha val="80000"/>
                    </a:srgbClr>
                  </a:gs>
                  <a:gs pos="100000">
                    <a:srgbClr val="666666">
                      <a:lumMod val="60000"/>
                      <a:lumOff val="40000"/>
                      <a:alpha val="40000"/>
                    </a:srgbClr>
                  </a:gs>
                </a:gsLst>
                <a:lin ang="0" scaled="0"/>
                <a:tileRect/>
              </a:gra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square" lIns="0" tIns="0" rIns="0" bIns="0" anchor="ctr" anchorCtr="1"/>
            <a:lstStyle>
              <a:defPPr>
                <a:defRPr lang="en-US"/>
              </a:defPPr>
              <a:lvl1pPr algn="ctr" defTabSz="914355">
                <a:defRPr sz="1200" b="1" kern="0" spc="50">
                  <a:solidFill>
                    <a:sysClr val="windowText" lastClr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defRPr>
              </a:lvl1pPr>
              <a:lvl2pPr defTabSz="684213"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2pPr>
              <a:lvl3pPr defTabSz="684213"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3pPr>
              <a:lvl4pPr defTabSz="684213"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4pPr>
              <a:lvl5pPr defTabSz="684213"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5pPr>
              <a:lvl6pPr marL="457200" indent="1828800" defTabSz="684213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6pPr>
              <a:lvl7pPr marL="914400" indent="1828800" defTabSz="684213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7pPr>
              <a:lvl8pPr marL="1371600" indent="1828800" defTabSz="684213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8pPr>
              <a:lvl9pPr marL="1828800" indent="1828800" defTabSz="684213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9pPr>
            </a:lstStyle>
            <a:p>
              <a:endParaRPr lang="en-US" dirty="0">
                <a:sym typeface="Huawei Sans" panose="020C0503030203020204" pitchFamily="34" charset="0"/>
              </a:endParaRPr>
            </a:p>
          </p:txBody>
        </p:sp>
        <p:sp>
          <p:nvSpPr>
            <p:cNvPr id="103" name="Freeform 9">
              <a:extLst>
                <a:ext uri="{FF2B5EF4-FFF2-40B4-BE49-F238E27FC236}">
                  <a16:creationId xmlns:a16="http://schemas.microsoft.com/office/drawing/2014/main" id="{7485FC54-361E-4C84-B94A-7FE685B03699}"/>
                </a:ext>
              </a:extLst>
            </p:cNvPr>
            <p:cNvSpPr>
              <a:spLocks/>
            </p:cNvSpPr>
            <p:nvPr/>
          </p:nvSpPr>
          <p:spPr bwMode="auto">
            <a:xfrm rot="10800000" flipH="1">
              <a:off x="715627" y="3175270"/>
              <a:ext cx="170074" cy="1700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0"/>
                </a:cxn>
                <a:cxn ang="0">
                  <a:pos x="80" y="15"/>
                </a:cxn>
                <a:cxn ang="0">
                  <a:pos x="14" y="15"/>
                </a:cxn>
                <a:cxn ang="0">
                  <a:pos x="14" y="81"/>
                </a:cxn>
                <a:cxn ang="0">
                  <a:pos x="0" y="95"/>
                </a:cxn>
                <a:cxn ang="0">
                  <a:pos x="0" y="0"/>
                </a:cxn>
              </a:cxnLst>
              <a:rect l="0" t="0" r="r" b="b"/>
              <a:pathLst>
                <a:path w="95" h="95">
                  <a:moveTo>
                    <a:pt x="0" y="0"/>
                  </a:moveTo>
                  <a:lnTo>
                    <a:pt x="95" y="0"/>
                  </a:lnTo>
                  <a:lnTo>
                    <a:pt x="80" y="15"/>
                  </a:lnTo>
                  <a:lnTo>
                    <a:pt x="14" y="15"/>
                  </a:lnTo>
                  <a:lnTo>
                    <a:pt x="14" y="81"/>
                  </a:lnTo>
                  <a:lnTo>
                    <a:pt x="0" y="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7000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34" tIns="45717" rIns="91434" bIns="45717" numCol="1" anchor="t" anchorCtr="0" compatLnSpc="1">
              <a:prstTxWarp prst="textNoShape">
                <a:avLst/>
              </a:prstTxWarp>
            </a:bodyPr>
            <a:lstStyle/>
            <a:p>
              <a:pPr defTabSz="870979" fontAlgn="ctr">
                <a:defRPr/>
              </a:pPr>
              <a:endParaRPr lang="en-US" altLang="zh-CN" sz="2700" kern="0" dirty="0">
                <a:solidFill>
                  <a:srgbClr val="1D1D1A"/>
                </a:solidFill>
              </a:endParaRPr>
            </a:p>
          </p:txBody>
        </p:sp>
        <p:sp>
          <p:nvSpPr>
            <p:cNvPr id="104" name="Freeform 9">
              <a:extLst>
                <a:ext uri="{FF2B5EF4-FFF2-40B4-BE49-F238E27FC236}">
                  <a16:creationId xmlns:a16="http://schemas.microsoft.com/office/drawing/2014/main" id="{67CAB87B-6A79-4351-B691-1F9F8D70B0B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2491" y="1154057"/>
              <a:ext cx="170074" cy="1700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0"/>
                </a:cxn>
                <a:cxn ang="0">
                  <a:pos x="80" y="15"/>
                </a:cxn>
                <a:cxn ang="0">
                  <a:pos x="14" y="15"/>
                </a:cxn>
                <a:cxn ang="0">
                  <a:pos x="14" y="81"/>
                </a:cxn>
                <a:cxn ang="0">
                  <a:pos x="0" y="95"/>
                </a:cxn>
                <a:cxn ang="0">
                  <a:pos x="0" y="0"/>
                </a:cxn>
              </a:cxnLst>
              <a:rect l="0" t="0" r="r" b="b"/>
              <a:pathLst>
                <a:path w="95" h="95">
                  <a:moveTo>
                    <a:pt x="0" y="0"/>
                  </a:moveTo>
                  <a:lnTo>
                    <a:pt x="95" y="0"/>
                  </a:lnTo>
                  <a:lnTo>
                    <a:pt x="80" y="15"/>
                  </a:lnTo>
                  <a:lnTo>
                    <a:pt x="14" y="15"/>
                  </a:lnTo>
                  <a:lnTo>
                    <a:pt x="14" y="81"/>
                  </a:lnTo>
                  <a:lnTo>
                    <a:pt x="0" y="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7000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34" tIns="45717" rIns="91434" bIns="45717" numCol="1" anchor="t" anchorCtr="0" compatLnSpc="1">
              <a:prstTxWarp prst="textNoShape">
                <a:avLst/>
              </a:prstTxWarp>
            </a:bodyPr>
            <a:lstStyle/>
            <a:p>
              <a:pPr defTabSz="870979" fontAlgn="ctr">
                <a:defRPr/>
              </a:pPr>
              <a:endParaRPr lang="en-US" altLang="zh-CN" sz="2700" kern="0" dirty="0">
                <a:solidFill>
                  <a:srgbClr val="1D1D1A"/>
                </a:solidFill>
              </a:endParaRPr>
            </a:p>
          </p:txBody>
        </p:sp>
        <p:sp>
          <p:nvSpPr>
            <p:cNvPr id="105" name="Freeform 9">
              <a:extLst>
                <a:ext uri="{FF2B5EF4-FFF2-40B4-BE49-F238E27FC236}">
                  <a16:creationId xmlns:a16="http://schemas.microsoft.com/office/drawing/2014/main" id="{AE52C2C6-A44A-42C6-B17B-474EB054567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626" y="1154057"/>
              <a:ext cx="170074" cy="1700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0"/>
                </a:cxn>
                <a:cxn ang="0">
                  <a:pos x="80" y="15"/>
                </a:cxn>
                <a:cxn ang="0">
                  <a:pos x="14" y="15"/>
                </a:cxn>
                <a:cxn ang="0">
                  <a:pos x="14" y="81"/>
                </a:cxn>
                <a:cxn ang="0">
                  <a:pos x="0" y="95"/>
                </a:cxn>
                <a:cxn ang="0">
                  <a:pos x="0" y="0"/>
                </a:cxn>
              </a:cxnLst>
              <a:rect l="0" t="0" r="r" b="b"/>
              <a:pathLst>
                <a:path w="95" h="95">
                  <a:moveTo>
                    <a:pt x="0" y="0"/>
                  </a:moveTo>
                  <a:lnTo>
                    <a:pt x="95" y="0"/>
                  </a:lnTo>
                  <a:lnTo>
                    <a:pt x="80" y="15"/>
                  </a:lnTo>
                  <a:lnTo>
                    <a:pt x="14" y="15"/>
                  </a:lnTo>
                  <a:lnTo>
                    <a:pt x="14" y="81"/>
                  </a:lnTo>
                  <a:lnTo>
                    <a:pt x="0" y="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7000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34" tIns="45717" rIns="91434" bIns="45717" numCol="1" anchor="t" anchorCtr="0" compatLnSpc="1">
              <a:prstTxWarp prst="textNoShape">
                <a:avLst/>
              </a:prstTxWarp>
            </a:bodyPr>
            <a:lstStyle/>
            <a:p>
              <a:pPr defTabSz="870979" fontAlgn="ctr">
                <a:defRPr/>
              </a:pPr>
              <a:endParaRPr lang="en-US" altLang="zh-CN" sz="2700" kern="0" dirty="0">
                <a:solidFill>
                  <a:srgbClr val="1D1D1A"/>
                </a:solidFill>
              </a:endParaRPr>
            </a:p>
          </p:txBody>
        </p:sp>
        <p:sp>
          <p:nvSpPr>
            <p:cNvPr id="106" name="Freeform 9">
              <a:extLst>
                <a:ext uri="{FF2B5EF4-FFF2-40B4-BE49-F238E27FC236}">
                  <a16:creationId xmlns:a16="http://schemas.microsoft.com/office/drawing/2014/main" id="{9CD83784-D83F-4603-AEFE-CE4FF57D116F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5752491" y="3175269"/>
              <a:ext cx="170074" cy="1700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0"/>
                </a:cxn>
                <a:cxn ang="0">
                  <a:pos x="80" y="15"/>
                </a:cxn>
                <a:cxn ang="0">
                  <a:pos x="14" y="15"/>
                </a:cxn>
                <a:cxn ang="0">
                  <a:pos x="14" y="81"/>
                </a:cxn>
                <a:cxn ang="0">
                  <a:pos x="0" y="95"/>
                </a:cxn>
                <a:cxn ang="0">
                  <a:pos x="0" y="0"/>
                </a:cxn>
              </a:cxnLst>
              <a:rect l="0" t="0" r="r" b="b"/>
              <a:pathLst>
                <a:path w="95" h="95">
                  <a:moveTo>
                    <a:pt x="0" y="0"/>
                  </a:moveTo>
                  <a:lnTo>
                    <a:pt x="95" y="0"/>
                  </a:lnTo>
                  <a:lnTo>
                    <a:pt x="80" y="15"/>
                  </a:lnTo>
                  <a:lnTo>
                    <a:pt x="14" y="15"/>
                  </a:lnTo>
                  <a:lnTo>
                    <a:pt x="14" y="81"/>
                  </a:lnTo>
                  <a:lnTo>
                    <a:pt x="0" y="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7000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34" tIns="45717" rIns="91434" bIns="45717" numCol="1" anchor="ctr" anchorCtr="0" compatLnSpc="1">
              <a:prstTxWarp prst="textNoShape">
                <a:avLst/>
              </a:prstTxWarp>
            </a:bodyPr>
            <a:lstStyle/>
            <a:p>
              <a:pPr defTabSz="870979" fontAlgn="ctr">
                <a:defRPr/>
              </a:pPr>
              <a:endParaRPr lang="en-US" altLang="zh-CN" sz="2700" kern="0" dirty="0">
                <a:solidFill>
                  <a:srgbClr val="1D1D1A"/>
                </a:solidFill>
              </a:endParaRPr>
            </a:p>
          </p:txBody>
        </p:sp>
      </p:grpSp>
      <p:grpSp>
        <p:nvGrpSpPr>
          <p:cNvPr id="107" name="组合 106">
            <a:extLst>
              <a:ext uri="{FF2B5EF4-FFF2-40B4-BE49-F238E27FC236}">
                <a16:creationId xmlns:a16="http://schemas.microsoft.com/office/drawing/2014/main" id="{F033797B-4E6C-4D5F-93FD-109B3BC7B130}"/>
              </a:ext>
            </a:extLst>
          </p:cNvPr>
          <p:cNvGrpSpPr>
            <a:grpSpLocks/>
          </p:cNvGrpSpPr>
          <p:nvPr/>
        </p:nvGrpSpPr>
        <p:grpSpPr>
          <a:xfrm>
            <a:off x="715626" y="3731004"/>
            <a:ext cx="5189993" cy="2309108"/>
            <a:chOff x="715626" y="1154057"/>
            <a:chExt cx="5206939" cy="2191291"/>
          </a:xfrm>
        </p:grpSpPr>
        <p:sp>
          <p:nvSpPr>
            <p:cNvPr id="108" name="圆角矩形 67">
              <a:extLst>
                <a:ext uri="{FF2B5EF4-FFF2-40B4-BE49-F238E27FC236}">
                  <a16:creationId xmlns:a16="http://schemas.microsoft.com/office/drawing/2014/main" id="{9A3EBD2C-7D47-418F-AF3B-6F347203E809}"/>
                </a:ext>
              </a:extLst>
            </p:cNvPr>
            <p:cNvSpPr/>
            <p:nvPr/>
          </p:nvSpPr>
          <p:spPr bwMode="auto">
            <a:xfrm>
              <a:off x="724556" y="1163036"/>
              <a:ext cx="5189992" cy="2182311"/>
            </a:xfrm>
            <a:prstGeom prst="roundRect">
              <a:avLst>
                <a:gd name="adj" fmla="val 0"/>
              </a:avLst>
            </a:prstGeom>
            <a:noFill/>
            <a:ln w="12700" cap="flat" cmpd="sng" algn="ctr">
              <a:solidFill>
                <a:schemeClr val="tx1">
                  <a:lumMod val="10000"/>
                  <a:lumOff val="90000"/>
                </a:schemeClr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defTabSz="871336" fontAlgn="ctr">
                <a:defRPr/>
              </a:pPr>
              <a:endParaRPr lang="en-US" altLang="zh-CN" kern="0" dirty="0">
                <a:solidFill>
                  <a:srgbClr val="1D1D1A"/>
                </a:solidFill>
              </a:endParaRPr>
            </a:p>
          </p:txBody>
        </p:sp>
        <p:sp>
          <p:nvSpPr>
            <p:cNvPr id="109" name="文本框 226">
              <a:extLst>
                <a:ext uri="{FF2B5EF4-FFF2-40B4-BE49-F238E27FC236}">
                  <a16:creationId xmlns:a16="http://schemas.microsoft.com/office/drawing/2014/main" id="{EB8DCBBF-821A-444C-B270-06617F0F9399}"/>
                </a:ext>
              </a:extLst>
            </p:cNvPr>
            <p:cNvSpPr txBox="1"/>
            <p:nvPr/>
          </p:nvSpPr>
          <p:spPr>
            <a:xfrm>
              <a:off x="855595" y="1303029"/>
              <a:ext cx="4927914" cy="1902325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38000">
                  <a:srgbClr val="666666">
                    <a:lumMod val="60000"/>
                    <a:lumOff val="40000"/>
                    <a:alpha val="2000"/>
                  </a:srgbClr>
                </a:gs>
                <a:gs pos="100000">
                  <a:srgbClr val="666666">
                    <a:lumMod val="60000"/>
                    <a:lumOff val="40000"/>
                    <a:alpha val="15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 algn="ctr">
              <a:gradFill flip="none" rotWithShape="1">
                <a:gsLst>
                  <a:gs pos="0">
                    <a:srgbClr val="666666">
                      <a:lumMod val="60000"/>
                      <a:lumOff val="40000"/>
                      <a:alpha val="80000"/>
                    </a:srgbClr>
                  </a:gs>
                  <a:gs pos="100000">
                    <a:srgbClr val="666666">
                      <a:lumMod val="60000"/>
                      <a:lumOff val="40000"/>
                      <a:alpha val="40000"/>
                    </a:srgbClr>
                  </a:gs>
                </a:gsLst>
                <a:lin ang="0" scaled="0"/>
                <a:tileRect/>
              </a:gra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square" lIns="0" tIns="0" rIns="0" bIns="0" anchor="ctr" anchorCtr="1"/>
            <a:lstStyle>
              <a:defPPr>
                <a:defRPr lang="en-US"/>
              </a:defPPr>
              <a:lvl1pPr algn="ctr" defTabSz="914355">
                <a:defRPr sz="1200" b="1" kern="0" spc="50">
                  <a:solidFill>
                    <a:sysClr val="windowText" lastClr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defRPr>
              </a:lvl1pPr>
              <a:lvl2pPr defTabSz="684213"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2pPr>
              <a:lvl3pPr defTabSz="684213"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3pPr>
              <a:lvl4pPr defTabSz="684213"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4pPr>
              <a:lvl5pPr defTabSz="684213"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5pPr>
              <a:lvl6pPr marL="457200" indent="1828800" defTabSz="684213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6pPr>
              <a:lvl7pPr marL="914400" indent="1828800" defTabSz="684213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7pPr>
              <a:lvl8pPr marL="1371600" indent="1828800" defTabSz="684213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8pPr>
              <a:lvl9pPr marL="1828800" indent="1828800" defTabSz="684213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9pPr>
            </a:lstStyle>
            <a:p>
              <a:endParaRPr lang="en-US" dirty="0">
                <a:sym typeface="Huawei Sans" panose="020C0503030203020204" pitchFamily="34" charset="0"/>
              </a:endParaRPr>
            </a:p>
          </p:txBody>
        </p:sp>
        <p:sp>
          <p:nvSpPr>
            <p:cNvPr id="110" name="Freeform 9">
              <a:extLst>
                <a:ext uri="{FF2B5EF4-FFF2-40B4-BE49-F238E27FC236}">
                  <a16:creationId xmlns:a16="http://schemas.microsoft.com/office/drawing/2014/main" id="{EA09E64C-0F9E-453C-81FC-79CB8DEF0D3A}"/>
                </a:ext>
              </a:extLst>
            </p:cNvPr>
            <p:cNvSpPr>
              <a:spLocks/>
            </p:cNvSpPr>
            <p:nvPr/>
          </p:nvSpPr>
          <p:spPr bwMode="auto">
            <a:xfrm rot="10800000" flipH="1">
              <a:off x="715627" y="3175270"/>
              <a:ext cx="170074" cy="1700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0"/>
                </a:cxn>
                <a:cxn ang="0">
                  <a:pos x="80" y="15"/>
                </a:cxn>
                <a:cxn ang="0">
                  <a:pos x="14" y="15"/>
                </a:cxn>
                <a:cxn ang="0">
                  <a:pos x="14" y="81"/>
                </a:cxn>
                <a:cxn ang="0">
                  <a:pos x="0" y="95"/>
                </a:cxn>
                <a:cxn ang="0">
                  <a:pos x="0" y="0"/>
                </a:cxn>
              </a:cxnLst>
              <a:rect l="0" t="0" r="r" b="b"/>
              <a:pathLst>
                <a:path w="95" h="95">
                  <a:moveTo>
                    <a:pt x="0" y="0"/>
                  </a:moveTo>
                  <a:lnTo>
                    <a:pt x="95" y="0"/>
                  </a:lnTo>
                  <a:lnTo>
                    <a:pt x="80" y="15"/>
                  </a:lnTo>
                  <a:lnTo>
                    <a:pt x="14" y="15"/>
                  </a:lnTo>
                  <a:lnTo>
                    <a:pt x="14" y="81"/>
                  </a:lnTo>
                  <a:lnTo>
                    <a:pt x="0" y="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7000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34" tIns="45717" rIns="91434" bIns="45717" numCol="1" anchor="t" anchorCtr="0" compatLnSpc="1">
              <a:prstTxWarp prst="textNoShape">
                <a:avLst/>
              </a:prstTxWarp>
            </a:bodyPr>
            <a:lstStyle/>
            <a:p>
              <a:pPr defTabSz="870979" fontAlgn="ctr">
                <a:defRPr/>
              </a:pPr>
              <a:endParaRPr lang="en-US" altLang="zh-CN" sz="2700" kern="0" dirty="0">
                <a:solidFill>
                  <a:srgbClr val="1D1D1A"/>
                </a:solidFill>
              </a:endParaRPr>
            </a:p>
          </p:txBody>
        </p:sp>
        <p:sp>
          <p:nvSpPr>
            <p:cNvPr id="111" name="Freeform 9">
              <a:extLst>
                <a:ext uri="{FF2B5EF4-FFF2-40B4-BE49-F238E27FC236}">
                  <a16:creationId xmlns:a16="http://schemas.microsoft.com/office/drawing/2014/main" id="{B7D63CAB-AC99-41E6-959D-612907D3833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2491" y="1154057"/>
              <a:ext cx="170074" cy="1700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0"/>
                </a:cxn>
                <a:cxn ang="0">
                  <a:pos x="80" y="15"/>
                </a:cxn>
                <a:cxn ang="0">
                  <a:pos x="14" y="15"/>
                </a:cxn>
                <a:cxn ang="0">
                  <a:pos x="14" y="81"/>
                </a:cxn>
                <a:cxn ang="0">
                  <a:pos x="0" y="95"/>
                </a:cxn>
                <a:cxn ang="0">
                  <a:pos x="0" y="0"/>
                </a:cxn>
              </a:cxnLst>
              <a:rect l="0" t="0" r="r" b="b"/>
              <a:pathLst>
                <a:path w="95" h="95">
                  <a:moveTo>
                    <a:pt x="0" y="0"/>
                  </a:moveTo>
                  <a:lnTo>
                    <a:pt x="95" y="0"/>
                  </a:lnTo>
                  <a:lnTo>
                    <a:pt x="80" y="15"/>
                  </a:lnTo>
                  <a:lnTo>
                    <a:pt x="14" y="15"/>
                  </a:lnTo>
                  <a:lnTo>
                    <a:pt x="14" y="81"/>
                  </a:lnTo>
                  <a:lnTo>
                    <a:pt x="0" y="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7000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34" tIns="45717" rIns="91434" bIns="45717" numCol="1" anchor="t" anchorCtr="0" compatLnSpc="1">
              <a:prstTxWarp prst="textNoShape">
                <a:avLst/>
              </a:prstTxWarp>
            </a:bodyPr>
            <a:lstStyle/>
            <a:p>
              <a:pPr defTabSz="870979" fontAlgn="ctr">
                <a:defRPr/>
              </a:pPr>
              <a:endParaRPr lang="en-US" altLang="zh-CN" sz="2700" kern="0" dirty="0">
                <a:solidFill>
                  <a:srgbClr val="1D1D1A"/>
                </a:solidFill>
              </a:endParaRPr>
            </a:p>
          </p:txBody>
        </p:sp>
        <p:sp>
          <p:nvSpPr>
            <p:cNvPr id="112" name="Freeform 9">
              <a:extLst>
                <a:ext uri="{FF2B5EF4-FFF2-40B4-BE49-F238E27FC236}">
                  <a16:creationId xmlns:a16="http://schemas.microsoft.com/office/drawing/2014/main" id="{1146CD9F-8665-4671-A206-96EAB331D23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626" y="1154057"/>
              <a:ext cx="170074" cy="1700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0"/>
                </a:cxn>
                <a:cxn ang="0">
                  <a:pos x="80" y="15"/>
                </a:cxn>
                <a:cxn ang="0">
                  <a:pos x="14" y="15"/>
                </a:cxn>
                <a:cxn ang="0">
                  <a:pos x="14" y="81"/>
                </a:cxn>
                <a:cxn ang="0">
                  <a:pos x="0" y="95"/>
                </a:cxn>
                <a:cxn ang="0">
                  <a:pos x="0" y="0"/>
                </a:cxn>
              </a:cxnLst>
              <a:rect l="0" t="0" r="r" b="b"/>
              <a:pathLst>
                <a:path w="95" h="95">
                  <a:moveTo>
                    <a:pt x="0" y="0"/>
                  </a:moveTo>
                  <a:lnTo>
                    <a:pt x="95" y="0"/>
                  </a:lnTo>
                  <a:lnTo>
                    <a:pt x="80" y="15"/>
                  </a:lnTo>
                  <a:lnTo>
                    <a:pt x="14" y="15"/>
                  </a:lnTo>
                  <a:lnTo>
                    <a:pt x="14" y="81"/>
                  </a:lnTo>
                  <a:lnTo>
                    <a:pt x="0" y="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7000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34" tIns="45717" rIns="91434" bIns="45717" numCol="1" anchor="t" anchorCtr="0" compatLnSpc="1">
              <a:prstTxWarp prst="textNoShape">
                <a:avLst/>
              </a:prstTxWarp>
            </a:bodyPr>
            <a:lstStyle/>
            <a:p>
              <a:pPr defTabSz="870979" fontAlgn="ctr">
                <a:defRPr/>
              </a:pPr>
              <a:endParaRPr lang="en-US" altLang="zh-CN" sz="2700" kern="0" dirty="0">
                <a:solidFill>
                  <a:srgbClr val="1D1D1A"/>
                </a:solidFill>
              </a:endParaRPr>
            </a:p>
          </p:txBody>
        </p:sp>
        <p:sp>
          <p:nvSpPr>
            <p:cNvPr id="113" name="Freeform 9">
              <a:extLst>
                <a:ext uri="{FF2B5EF4-FFF2-40B4-BE49-F238E27FC236}">
                  <a16:creationId xmlns:a16="http://schemas.microsoft.com/office/drawing/2014/main" id="{123DC361-24A1-4371-9DBC-BD5CFC53BD34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5752491" y="3175269"/>
              <a:ext cx="170074" cy="1700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0"/>
                </a:cxn>
                <a:cxn ang="0">
                  <a:pos x="80" y="15"/>
                </a:cxn>
                <a:cxn ang="0">
                  <a:pos x="14" y="15"/>
                </a:cxn>
                <a:cxn ang="0">
                  <a:pos x="14" y="81"/>
                </a:cxn>
                <a:cxn ang="0">
                  <a:pos x="0" y="95"/>
                </a:cxn>
                <a:cxn ang="0">
                  <a:pos x="0" y="0"/>
                </a:cxn>
              </a:cxnLst>
              <a:rect l="0" t="0" r="r" b="b"/>
              <a:pathLst>
                <a:path w="95" h="95">
                  <a:moveTo>
                    <a:pt x="0" y="0"/>
                  </a:moveTo>
                  <a:lnTo>
                    <a:pt x="95" y="0"/>
                  </a:lnTo>
                  <a:lnTo>
                    <a:pt x="80" y="15"/>
                  </a:lnTo>
                  <a:lnTo>
                    <a:pt x="14" y="15"/>
                  </a:lnTo>
                  <a:lnTo>
                    <a:pt x="14" y="81"/>
                  </a:lnTo>
                  <a:lnTo>
                    <a:pt x="0" y="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7000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34" tIns="45717" rIns="91434" bIns="45717" numCol="1" anchor="ctr" anchorCtr="0" compatLnSpc="1">
              <a:prstTxWarp prst="textNoShape">
                <a:avLst/>
              </a:prstTxWarp>
            </a:bodyPr>
            <a:lstStyle/>
            <a:p>
              <a:pPr defTabSz="870979" fontAlgn="ctr">
                <a:defRPr/>
              </a:pPr>
              <a:endParaRPr lang="en-US" altLang="zh-CN" sz="2700" kern="0" dirty="0">
                <a:solidFill>
                  <a:srgbClr val="1D1D1A"/>
                </a:solidFill>
              </a:endParaRPr>
            </a:p>
          </p:txBody>
        </p:sp>
      </p:grpSp>
      <p:grpSp>
        <p:nvGrpSpPr>
          <p:cNvPr id="114" name="组合 113">
            <a:extLst>
              <a:ext uri="{FF2B5EF4-FFF2-40B4-BE49-F238E27FC236}">
                <a16:creationId xmlns:a16="http://schemas.microsoft.com/office/drawing/2014/main" id="{17F3BB03-538A-47F7-BAF6-52322171C43C}"/>
              </a:ext>
            </a:extLst>
          </p:cNvPr>
          <p:cNvGrpSpPr>
            <a:grpSpLocks/>
          </p:cNvGrpSpPr>
          <p:nvPr/>
        </p:nvGrpSpPr>
        <p:grpSpPr>
          <a:xfrm>
            <a:off x="6275042" y="3731004"/>
            <a:ext cx="5189993" cy="2309108"/>
            <a:chOff x="715626" y="1154057"/>
            <a:chExt cx="5206939" cy="2191291"/>
          </a:xfrm>
        </p:grpSpPr>
        <p:sp>
          <p:nvSpPr>
            <p:cNvPr id="115" name="圆角矩形 67">
              <a:extLst>
                <a:ext uri="{FF2B5EF4-FFF2-40B4-BE49-F238E27FC236}">
                  <a16:creationId xmlns:a16="http://schemas.microsoft.com/office/drawing/2014/main" id="{0BB0EFEE-990A-4CF7-A1EC-6E24DF307CE4}"/>
                </a:ext>
              </a:extLst>
            </p:cNvPr>
            <p:cNvSpPr/>
            <p:nvPr/>
          </p:nvSpPr>
          <p:spPr bwMode="auto">
            <a:xfrm>
              <a:off x="724556" y="1163036"/>
              <a:ext cx="5189992" cy="2182311"/>
            </a:xfrm>
            <a:prstGeom prst="roundRect">
              <a:avLst>
                <a:gd name="adj" fmla="val 0"/>
              </a:avLst>
            </a:prstGeom>
            <a:noFill/>
            <a:ln w="12700" cap="flat" cmpd="sng" algn="ctr">
              <a:solidFill>
                <a:schemeClr val="tx1">
                  <a:lumMod val="10000"/>
                  <a:lumOff val="90000"/>
                </a:schemeClr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defTabSz="871336" fontAlgn="ctr">
                <a:defRPr/>
              </a:pPr>
              <a:endParaRPr lang="en-US" altLang="zh-CN" kern="0" dirty="0">
                <a:solidFill>
                  <a:srgbClr val="1D1D1A"/>
                </a:solidFill>
              </a:endParaRPr>
            </a:p>
          </p:txBody>
        </p:sp>
        <p:sp>
          <p:nvSpPr>
            <p:cNvPr id="116" name="文本框 226">
              <a:extLst>
                <a:ext uri="{FF2B5EF4-FFF2-40B4-BE49-F238E27FC236}">
                  <a16:creationId xmlns:a16="http://schemas.microsoft.com/office/drawing/2014/main" id="{B321D904-05F9-4BD3-BB53-2DC14842194D}"/>
                </a:ext>
              </a:extLst>
            </p:cNvPr>
            <p:cNvSpPr txBox="1"/>
            <p:nvPr/>
          </p:nvSpPr>
          <p:spPr>
            <a:xfrm>
              <a:off x="855595" y="1303029"/>
              <a:ext cx="4927914" cy="1902325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38000">
                  <a:srgbClr val="666666">
                    <a:lumMod val="60000"/>
                    <a:lumOff val="40000"/>
                    <a:alpha val="2000"/>
                  </a:srgbClr>
                </a:gs>
                <a:gs pos="100000">
                  <a:srgbClr val="666666">
                    <a:lumMod val="60000"/>
                    <a:lumOff val="40000"/>
                    <a:alpha val="15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 algn="ctr">
              <a:gradFill flip="none" rotWithShape="1">
                <a:gsLst>
                  <a:gs pos="0">
                    <a:srgbClr val="666666">
                      <a:lumMod val="60000"/>
                      <a:lumOff val="40000"/>
                      <a:alpha val="80000"/>
                    </a:srgbClr>
                  </a:gs>
                  <a:gs pos="100000">
                    <a:srgbClr val="666666">
                      <a:lumMod val="60000"/>
                      <a:lumOff val="40000"/>
                      <a:alpha val="40000"/>
                    </a:srgbClr>
                  </a:gs>
                </a:gsLst>
                <a:lin ang="0" scaled="0"/>
                <a:tileRect/>
              </a:gra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square" lIns="0" tIns="0" rIns="0" bIns="0" anchor="ctr" anchorCtr="1"/>
            <a:lstStyle>
              <a:defPPr>
                <a:defRPr lang="en-US"/>
              </a:defPPr>
              <a:lvl1pPr algn="ctr" defTabSz="914355">
                <a:defRPr sz="1200" b="1" kern="0" spc="50">
                  <a:solidFill>
                    <a:sysClr val="windowText" lastClr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defRPr>
              </a:lvl1pPr>
              <a:lvl2pPr defTabSz="684213"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2pPr>
              <a:lvl3pPr defTabSz="684213"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3pPr>
              <a:lvl4pPr defTabSz="684213"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4pPr>
              <a:lvl5pPr defTabSz="684213"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5pPr>
              <a:lvl6pPr marL="457200" indent="1828800" defTabSz="684213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6pPr>
              <a:lvl7pPr marL="914400" indent="1828800" defTabSz="684213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7pPr>
              <a:lvl8pPr marL="1371600" indent="1828800" defTabSz="684213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8pPr>
              <a:lvl9pPr marL="1828800" indent="1828800" defTabSz="684213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9pPr>
            </a:lstStyle>
            <a:p>
              <a:endParaRPr lang="en-US" dirty="0">
                <a:sym typeface="Huawei Sans" panose="020C0503030203020204" pitchFamily="34" charset="0"/>
              </a:endParaRPr>
            </a:p>
          </p:txBody>
        </p:sp>
        <p:sp>
          <p:nvSpPr>
            <p:cNvPr id="117" name="Freeform 9">
              <a:extLst>
                <a:ext uri="{FF2B5EF4-FFF2-40B4-BE49-F238E27FC236}">
                  <a16:creationId xmlns:a16="http://schemas.microsoft.com/office/drawing/2014/main" id="{8F0F2FA4-DAF8-46B5-958F-705E1BF66FEE}"/>
                </a:ext>
              </a:extLst>
            </p:cNvPr>
            <p:cNvSpPr>
              <a:spLocks/>
            </p:cNvSpPr>
            <p:nvPr/>
          </p:nvSpPr>
          <p:spPr bwMode="auto">
            <a:xfrm rot="10800000" flipH="1">
              <a:off x="715627" y="3175270"/>
              <a:ext cx="170074" cy="1700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0"/>
                </a:cxn>
                <a:cxn ang="0">
                  <a:pos x="80" y="15"/>
                </a:cxn>
                <a:cxn ang="0">
                  <a:pos x="14" y="15"/>
                </a:cxn>
                <a:cxn ang="0">
                  <a:pos x="14" y="81"/>
                </a:cxn>
                <a:cxn ang="0">
                  <a:pos x="0" y="95"/>
                </a:cxn>
                <a:cxn ang="0">
                  <a:pos x="0" y="0"/>
                </a:cxn>
              </a:cxnLst>
              <a:rect l="0" t="0" r="r" b="b"/>
              <a:pathLst>
                <a:path w="95" h="95">
                  <a:moveTo>
                    <a:pt x="0" y="0"/>
                  </a:moveTo>
                  <a:lnTo>
                    <a:pt x="95" y="0"/>
                  </a:lnTo>
                  <a:lnTo>
                    <a:pt x="80" y="15"/>
                  </a:lnTo>
                  <a:lnTo>
                    <a:pt x="14" y="15"/>
                  </a:lnTo>
                  <a:lnTo>
                    <a:pt x="14" y="81"/>
                  </a:lnTo>
                  <a:lnTo>
                    <a:pt x="0" y="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7000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34" tIns="45717" rIns="91434" bIns="45717" numCol="1" anchor="t" anchorCtr="0" compatLnSpc="1">
              <a:prstTxWarp prst="textNoShape">
                <a:avLst/>
              </a:prstTxWarp>
            </a:bodyPr>
            <a:lstStyle/>
            <a:p>
              <a:pPr defTabSz="870979" fontAlgn="ctr">
                <a:defRPr/>
              </a:pPr>
              <a:endParaRPr lang="en-US" altLang="zh-CN" sz="2700" kern="0" dirty="0">
                <a:solidFill>
                  <a:srgbClr val="1D1D1A"/>
                </a:solidFill>
              </a:endParaRPr>
            </a:p>
          </p:txBody>
        </p:sp>
        <p:sp>
          <p:nvSpPr>
            <p:cNvPr id="118" name="Freeform 9">
              <a:extLst>
                <a:ext uri="{FF2B5EF4-FFF2-40B4-BE49-F238E27FC236}">
                  <a16:creationId xmlns:a16="http://schemas.microsoft.com/office/drawing/2014/main" id="{BA2DE2D0-0DCC-459E-8989-8809B8BB2D2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2491" y="1154057"/>
              <a:ext cx="170074" cy="1700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0"/>
                </a:cxn>
                <a:cxn ang="0">
                  <a:pos x="80" y="15"/>
                </a:cxn>
                <a:cxn ang="0">
                  <a:pos x="14" y="15"/>
                </a:cxn>
                <a:cxn ang="0">
                  <a:pos x="14" y="81"/>
                </a:cxn>
                <a:cxn ang="0">
                  <a:pos x="0" y="95"/>
                </a:cxn>
                <a:cxn ang="0">
                  <a:pos x="0" y="0"/>
                </a:cxn>
              </a:cxnLst>
              <a:rect l="0" t="0" r="r" b="b"/>
              <a:pathLst>
                <a:path w="95" h="95">
                  <a:moveTo>
                    <a:pt x="0" y="0"/>
                  </a:moveTo>
                  <a:lnTo>
                    <a:pt x="95" y="0"/>
                  </a:lnTo>
                  <a:lnTo>
                    <a:pt x="80" y="15"/>
                  </a:lnTo>
                  <a:lnTo>
                    <a:pt x="14" y="15"/>
                  </a:lnTo>
                  <a:lnTo>
                    <a:pt x="14" y="81"/>
                  </a:lnTo>
                  <a:lnTo>
                    <a:pt x="0" y="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7000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34" tIns="45717" rIns="91434" bIns="45717" numCol="1" anchor="t" anchorCtr="0" compatLnSpc="1">
              <a:prstTxWarp prst="textNoShape">
                <a:avLst/>
              </a:prstTxWarp>
            </a:bodyPr>
            <a:lstStyle/>
            <a:p>
              <a:pPr defTabSz="870979" fontAlgn="ctr">
                <a:defRPr/>
              </a:pPr>
              <a:endParaRPr lang="en-US" altLang="zh-CN" sz="2700" kern="0" dirty="0">
                <a:solidFill>
                  <a:srgbClr val="1D1D1A"/>
                </a:solidFill>
              </a:endParaRPr>
            </a:p>
          </p:txBody>
        </p:sp>
        <p:sp>
          <p:nvSpPr>
            <p:cNvPr id="119" name="Freeform 9">
              <a:extLst>
                <a:ext uri="{FF2B5EF4-FFF2-40B4-BE49-F238E27FC236}">
                  <a16:creationId xmlns:a16="http://schemas.microsoft.com/office/drawing/2014/main" id="{F6E47019-F71A-4272-9B13-1A1B3DF48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626" y="1154057"/>
              <a:ext cx="170074" cy="1700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0"/>
                </a:cxn>
                <a:cxn ang="0">
                  <a:pos x="80" y="15"/>
                </a:cxn>
                <a:cxn ang="0">
                  <a:pos x="14" y="15"/>
                </a:cxn>
                <a:cxn ang="0">
                  <a:pos x="14" y="81"/>
                </a:cxn>
                <a:cxn ang="0">
                  <a:pos x="0" y="95"/>
                </a:cxn>
                <a:cxn ang="0">
                  <a:pos x="0" y="0"/>
                </a:cxn>
              </a:cxnLst>
              <a:rect l="0" t="0" r="r" b="b"/>
              <a:pathLst>
                <a:path w="95" h="95">
                  <a:moveTo>
                    <a:pt x="0" y="0"/>
                  </a:moveTo>
                  <a:lnTo>
                    <a:pt x="95" y="0"/>
                  </a:lnTo>
                  <a:lnTo>
                    <a:pt x="80" y="15"/>
                  </a:lnTo>
                  <a:lnTo>
                    <a:pt x="14" y="15"/>
                  </a:lnTo>
                  <a:lnTo>
                    <a:pt x="14" y="81"/>
                  </a:lnTo>
                  <a:lnTo>
                    <a:pt x="0" y="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7000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34" tIns="45717" rIns="91434" bIns="45717" numCol="1" anchor="t" anchorCtr="0" compatLnSpc="1">
              <a:prstTxWarp prst="textNoShape">
                <a:avLst/>
              </a:prstTxWarp>
            </a:bodyPr>
            <a:lstStyle/>
            <a:p>
              <a:pPr defTabSz="870979" fontAlgn="ctr">
                <a:defRPr/>
              </a:pPr>
              <a:endParaRPr lang="en-US" altLang="zh-CN" sz="2700" kern="0" dirty="0">
                <a:solidFill>
                  <a:srgbClr val="1D1D1A"/>
                </a:solidFill>
              </a:endParaRPr>
            </a:p>
          </p:txBody>
        </p:sp>
        <p:sp>
          <p:nvSpPr>
            <p:cNvPr id="120" name="Freeform 9">
              <a:extLst>
                <a:ext uri="{FF2B5EF4-FFF2-40B4-BE49-F238E27FC236}">
                  <a16:creationId xmlns:a16="http://schemas.microsoft.com/office/drawing/2014/main" id="{1380AD2C-4152-492A-AD38-69D659C7C002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5752491" y="3175269"/>
              <a:ext cx="170074" cy="1700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0"/>
                </a:cxn>
                <a:cxn ang="0">
                  <a:pos x="80" y="15"/>
                </a:cxn>
                <a:cxn ang="0">
                  <a:pos x="14" y="15"/>
                </a:cxn>
                <a:cxn ang="0">
                  <a:pos x="14" y="81"/>
                </a:cxn>
                <a:cxn ang="0">
                  <a:pos x="0" y="95"/>
                </a:cxn>
                <a:cxn ang="0">
                  <a:pos x="0" y="0"/>
                </a:cxn>
              </a:cxnLst>
              <a:rect l="0" t="0" r="r" b="b"/>
              <a:pathLst>
                <a:path w="95" h="95">
                  <a:moveTo>
                    <a:pt x="0" y="0"/>
                  </a:moveTo>
                  <a:lnTo>
                    <a:pt x="95" y="0"/>
                  </a:lnTo>
                  <a:lnTo>
                    <a:pt x="80" y="15"/>
                  </a:lnTo>
                  <a:lnTo>
                    <a:pt x="14" y="15"/>
                  </a:lnTo>
                  <a:lnTo>
                    <a:pt x="14" y="81"/>
                  </a:lnTo>
                  <a:lnTo>
                    <a:pt x="0" y="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7000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34" tIns="45717" rIns="91434" bIns="45717" numCol="1" anchor="ctr" anchorCtr="0" compatLnSpc="1">
              <a:prstTxWarp prst="textNoShape">
                <a:avLst/>
              </a:prstTxWarp>
            </a:bodyPr>
            <a:lstStyle/>
            <a:p>
              <a:pPr defTabSz="870979" fontAlgn="ctr">
                <a:defRPr/>
              </a:pPr>
              <a:endParaRPr lang="en-US" altLang="zh-CN" sz="2700" kern="0" dirty="0">
                <a:solidFill>
                  <a:srgbClr val="1D1D1A"/>
                </a:solidFill>
              </a:endParaRPr>
            </a:p>
          </p:txBody>
        </p:sp>
      </p:grpSp>
      <p:sp>
        <p:nvSpPr>
          <p:cNvPr id="17" name="副标题 1">
            <a:extLst>
              <a:ext uri="{FF2B5EF4-FFF2-40B4-BE49-F238E27FC236}">
                <a16:creationId xmlns:a16="http://schemas.microsoft.com/office/drawing/2014/main" id="{CD49DFC7-32B1-4802-9D46-F037B3CECEFE}"/>
              </a:ext>
            </a:extLst>
          </p:cNvPr>
          <p:cNvSpPr txBox="1">
            <a:spLocks/>
          </p:cNvSpPr>
          <p:nvPr/>
        </p:nvSpPr>
        <p:spPr>
          <a:xfrm>
            <a:off x="723900" y="447675"/>
            <a:ext cx="107315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96950" indent="-296950" algn="l" defTabSz="1187798" rtl="0" eaLnBrk="1" latinLnBrk="0" hangingPunct="1">
              <a:lnSpc>
                <a:spcPct val="90000"/>
              </a:lnSpc>
              <a:spcBef>
                <a:spcPts val="1299"/>
              </a:spcBef>
              <a:buFont typeface="Arial" panose="020B0604020202020204" pitchFamily="34" charset="0"/>
              <a:buChar char="•"/>
              <a:defRPr sz="36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90849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84748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5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78648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72547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6447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60346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54245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48144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zh-CN" altLang="en-US" sz="2800" dirty="0">
                <a:solidFill>
                  <a:srgbClr val="1D1D1A"/>
                </a:solidFill>
                <a:latin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坚持科技致善，积极履行企业社会责任</a:t>
            </a:r>
          </a:p>
        </p:txBody>
      </p:sp>
      <p:sp>
        <p:nvSpPr>
          <p:cNvPr id="18" name="矩形 17"/>
          <p:cNvSpPr/>
          <p:nvPr/>
        </p:nvSpPr>
        <p:spPr>
          <a:xfrm>
            <a:off x="7666699" y="1695019"/>
            <a:ext cx="3648756" cy="119301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lnSpc>
                <a:spcPts val="2200"/>
              </a:lnSpc>
            </a:pPr>
            <a:r>
              <a:rPr lang="zh-CN" altLang="zh-CN" sz="14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华为“自然守护者项目” </a:t>
            </a:r>
            <a:r>
              <a:rPr lang="zh-CN" altLang="en-US" sz="14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获</a:t>
            </a:r>
            <a:endParaRPr lang="en-US" altLang="zh-CN" sz="1400" dirty="0">
              <a:solidFill>
                <a:srgbClr val="DDDDDD">
                  <a:lumMod val="10000"/>
                </a:srgbClr>
              </a:solidFill>
              <a:latin typeface="微软雅黑" panose="020B0503020204020204" pitchFamily="34" charset="-122"/>
            </a:endParaRPr>
          </a:p>
          <a:p>
            <a:pPr algn="ctr">
              <a:lnSpc>
                <a:spcPts val="2200"/>
              </a:lnSpc>
            </a:pPr>
            <a:r>
              <a:rPr lang="en-US" altLang="zh-CN" sz="1400" b="1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GSMA</a:t>
            </a:r>
            <a:r>
              <a:rPr lang="zh-CN" altLang="zh-CN" sz="1400" b="1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全球移动大奖</a:t>
            </a:r>
            <a:r>
              <a:rPr lang="en-US" altLang="zh-CN" sz="1400" b="1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(GLOMO)</a:t>
            </a:r>
          </a:p>
          <a:p>
            <a:pPr algn="ctr">
              <a:lnSpc>
                <a:spcPts val="2200"/>
              </a:lnSpc>
            </a:pPr>
            <a:r>
              <a:rPr lang="zh-CN" altLang="zh-CN" sz="1400" b="1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“联合国可持续发展目标杰出移动贡献奖” </a:t>
            </a:r>
            <a:endParaRPr lang="en-US" altLang="zh-CN" sz="1400" b="1" dirty="0">
              <a:solidFill>
                <a:srgbClr val="DDDDDD">
                  <a:lumMod val="10000"/>
                </a:srgbClr>
              </a:solidFill>
              <a:latin typeface="微软雅黑" panose="020B0503020204020204" pitchFamily="34" charset="-122"/>
            </a:endParaRPr>
          </a:p>
          <a:p>
            <a:pPr algn="ctr">
              <a:lnSpc>
                <a:spcPts val="2200"/>
              </a:lnSpc>
            </a:pPr>
            <a:r>
              <a:rPr lang="en-US" altLang="zh-CN" sz="14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sym typeface="微软雅黑" panose="020B0503020204020204" pitchFamily="34" charset="-122"/>
              </a:rPr>
              <a:t>2021</a:t>
            </a:r>
          </a:p>
        </p:txBody>
      </p:sp>
      <p:pic>
        <p:nvPicPr>
          <p:cNvPr id="19" name="图片 1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53956" y="1870504"/>
            <a:ext cx="842049" cy="842049"/>
          </a:xfrm>
          <a:prstGeom prst="rect">
            <a:avLst/>
          </a:prstGeom>
        </p:spPr>
      </p:pic>
      <p:sp>
        <p:nvSpPr>
          <p:cNvPr id="23" name="矩形 22"/>
          <p:cNvSpPr/>
          <p:nvPr/>
        </p:nvSpPr>
        <p:spPr>
          <a:xfrm>
            <a:off x="2390839" y="4289049"/>
            <a:ext cx="3156633" cy="119301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lnSpc>
                <a:spcPts val="2200"/>
              </a:lnSpc>
            </a:pPr>
            <a:r>
              <a:rPr lang="zh-CN" altLang="en-US" sz="14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华为</a:t>
            </a:r>
            <a:r>
              <a:rPr lang="en-US" altLang="zh-CN" sz="1400" dirty="0" err="1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FusionSolar</a:t>
            </a:r>
            <a:r>
              <a:rPr lang="zh-CN" altLang="en-US" sz="14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智能光伏解决方案获</a:t>
            </a:r>
            <a:endParaRPr lang="en-US" altLang="zh-CN" sz="1400" dirty="0">
              <a:solidFill>
                <a:srgbClr val="DDDDDD">
                  <a:lumMod val="10000"/>
                </a:srgbClr>
              </a:solidFill>
              <a:latin typeface="微软雅黑" panose="020B0503020204020204" pitchFamily="34" charset="-122"/>
            </a:endParaRPr>
          </a:p>
          <a:p>
            <a:pPr algn="ctr">
              <a:lnSpc>
                <a:spcPts val="2200"/>
              </a:lnSpc>
            </a:pPr>
            <a:r>
              <a:rPr lang="zh-CN" altLang="en-US" sz="1400" b="1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世界自然基金会</a:t>
            </a:r>
            <a:r>
              <a:rPr lang="en-US" altLang="zh-CN" sz="1400" b="1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(WWF)</a:t>
            </a:r>
          </a:p>
          <a:p>
            <a:pPr algn="ctr">
              <a:lnSpc>
                <a:spcPts val="2200"/>
              </a:lnSpc>
            </a:pPr>
            <a:r>
              <a:rPr lang="zh-CN" altLang="zh-CN" sz="1400" b="1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“碳中和行动者”</a:t>
            </a:r>
            <a:r>
              <a:rPr lang="zh-CN" altLang="en-US" sz="1400" b="1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年度气候创行者</a:t>
            </a:r>
            <a:r>
              <a:rPr lang="zh-CN" altLang="zh-CN" sz="1400" b="1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奖</a:t>
            </a:r>
            <a:endParaRPr lang="en-US" altLang="zh-CN" sz="1400" b="1" dirty="0">
              <a:solidFill>
                <a:srgbClr val="DDDDDD">
                  <a:lumMod val="10000"/>
                </a:srgbClr>
              </a:solidFill>
              <a:latin typeface="微软雅黑" panose="020B0503020204020204" pitchFamily="34" charset="-122"/>
            </a:endParaRPr>
          </a:p>
          <a:p>
            <a:pPr algn="ctr">
              <a:lnSpc>
                <a:spcPts val="2200"/>
              </a:lnSpc>
            </a:pPr>
            <a:r>
              <a:rPr lang="en-US" altLang="zh-CN" sz="14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2021</a:t>
            </a:r>
            <a:endParaRPr lang="zh-CN" altLang="en-US" sz="1400" dirty="0">
              <a:solidFill>
                <a:srgbClr val="DDDDDD">
                  <a:lumMod val="10000"/>
                </a:srgbClr>
              </a:solidFill>
              <a:latin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62665" y="4277371"/>
            <a:ext cx="950292" cy="1216374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7853176" y="4430113"/>
            <a:ext cx="3275803" cy="91089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lnSpc>
                <a:spcPts val="2200"/>
              </a:lnSpc>
            </a:pPr>
            <a:r>
              <a:rPr lang="zh-CN" altLang="zh-CN" sz="14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华为“肯尼亚</a:t>
            </a:r>
            <a:r>
              <a:rPr lang="en-US" altLang="zh-CN" sz="1400" dirty="0" err="1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DigiTruck</a:t>
            </a:r>
            <a:r>
              <a:rPr lang="zh-CN" altLang="zh-CN" sz="14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项目”荣获</a:t>
            </a:r>
            <a:endParaRPr lang="en-US" altLang="zh-CN" sz="1400" dirty="0">
              <a:solidFill>
                <a:srgbClr val="DDDDDD">
                  <a:lumMod val="10000"/>
                </a:srgbClr>
              </a:solidFill>
              <a:latin typeface="微软雅黑" panose="020B0503020204020204" pitchFamily="34" charset="-122"/>
            </a:endParaRPr>
          </a:p>
          <a:p>
            <a:pPr algn="ctr">
              <a:lnSpc>
                <a:spcPts val="2200"/>
              </a:lnSpc>
            </a:pPr>
            <a:r>
              <a:rPr lang="zh-CN" altLang="zh-CN" sz="1400" b="1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国际电信联盟（</a:t>
            </a:r>
            <a:r>
              <a:rPr lang="en-US" altLang="zh-CN" sz="1400" b="1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ITU</a:t>
            </a:r>
            <a:r>
              <a:rPr lang="zh-CN" altLang="zh-CN" sz="1400" b="1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）</a:t>
            </a:r>
            <a:r>
              <a:rPr lang="zh-CN" altLang="en-US" sz="1400" b="1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“</a:t>
            </a:r>
            <a:r>
              <a:rPr lang="en-US" altLang="zh-CN" sz="1400" b="1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WSIS</a:t>
            </a:r>
            <a:r>
              <a:rPr lang="zh-CN" altLang="zh-CN" sz="1400" b="1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冠军奖</a:t>
            </a:r>
            <a:r>
              <a:rPr lang="zh-CN" altLang="en-US" sz="1400" b="1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”</a:t>
            </a:r>
            <a:endParaRPr lang="en-US" altLang="zh-CN" sz="1400" b="1" dirty="0">
              <a:solidFill>
                <a:srgbClr val="DDDDDD">
                  <a:lumMod val="10000"/>
                </a:srgbClr>
              </a:solidFill>
              <a:latin typeface="微软雅黑" panose="020B0503020204020204" pitchFamily="34" charset="-122"/>
            </a:endParaRPr>
          </a:p>
          <a:p>
            <a:pPr algn="ctr">
              <a:lnSpc>
                <a:spcPts val="2200"/>
              </a:lnSpc>
            </a:pPr>
            <a:r>
              <a:rPr lang="en-US" altLang="zh-CN" sz="14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2021</a:t>
            </a:r>
            <a:endParaRPr lang="zh-CN" altLang="en-US" sz="1400" dirty="0">
              <a:solidFill>
                <a:srgbClr val="DDDDDD">
                  <a:lumMod val="10000"/>
                </a:srgbClr>
              </a:solidFill>
              <a:latin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50332" y="4408831"/>
            <a:ext cx="849296" cy="953454"/>
          </a:xfrm>
          <a:prstGeom prst="rect">
            <a:avLst/>
          </a:prstGeom>
        </p:spPr>
      </p:pic>
      <p:grpSp>
        <p:nvGrpSpPr>
          <p:cNvPr id="11" name="组合 10">
            <a:extLst>
              <a:ext uri="{FF2B5EF4-FFF2-40B4-BE49-F238E27FC236}">
                <a16:creationId xmlns:a16="http://schemas.microsoft.com/office/drawing/2014/main" id="{2FD5675C-CD8D-4AFF-AFBC-2BFEB51D3D7B}"/>
              </a:ext>
            </a:extLst>
          </p:cNvPr>
          <p:cNvGrpSpPr>
            <a:grpSpLocks/>
          </p:cNvGrpSpPr>
          <p:nvPr/>
        </p:nvGrpSpPr>
        <p:grpSpPr>
          <a:xfrm>
            <a:off x="715626" y="1154057"/>
            <a:ext cx="5189993" cy="2274943"/>
            <a:chOff x="715626" y="1154057"/>
            <a:chExt cx="5206939" cy="2191291"/>
          </a:xfrm>
        </p:grpSpPr>
        <p:sp>
          <p:nvSpPr>
            <p:cNvPr id="62" name="圆角矩形 67">
              <a:extLst>
                <a:ext uri="{FF2B5EF4-FFF2-40B4-BE49-F238E27FC236}">
                  <a16:creationId xmlns:a16="http://schemas.microsoft.com/office/drawing/2014/main" id="{F4BE7502-C6B8-4D6E-9454-56B4D00E422A}"/>
                </a:ext>
              </a:extLst>
            </p:cNvPr>
            <p:cNvSpPr/>
            <p:nvPr/>
          </p:nvSpPr>
          <p:spPr bwMode="auto">
            <a:xfrm>
              <a:off x="724556" y="1163036"/>
              <a:ext cx="5189992" cy="2182311"/>
            </a:xfrm>
            <a:prstGeom prst="roundRect">
              <a:avLst>
                <a:gd name="adj" fmla="val 0"/>
              </a:avLst>
            </a:prstGeom>
            <a:noFill/>
            <a:ln w="12700" cap="flat" cmpd="sng" algn="ctr">
              <a:solidFill>
                <a:schemeClr val="tx1">
                  <a:lumMod val="10000"/>
                  <a:lumOff val="90000"/>
                </a:schemeClr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defTabSz="871336" fontAlgn="ctr">
                <a:defRPr/>
              </a:pPr>
              <a:endParaRPr lang="en-US" altLang="zh-CN" kern="0" dirty="0">
                <a:solidFill>
                  <a:srgbClr val="1D1D1A"/>
                </a:solidFill>
              </a:endParaRPr>
            </a:p>
          </p:txBody>
        </p:sp>
        <p:sp>
          <p:nvSpPr>
            <p:cNvPr id="63" name="文本框 226">
              <a:extLst>
                <a:ext uri="{FF2B5EF4-FFF2-40B4-BE49-F238E27FC236}">
                  <a16:creationId xmlns:a16="http://schemas.microsoft.com/office/drawing/2014/main" id="{5EDDB28C-4A32-4253-ABD4-A5EA8CF08B97}"/>
                </a:ext>
              </a:extLst>
            </p:cNvPr>
            <p:cNvSpPr txBox="1"/>
            <p:nvPr/>
          </p:nvSpPr>
          <p:spPr>
            <a:xfrm>
              <a:off x="855595" y="1303029"/>
              <a:ext cx="4927914" cy="1902325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38000">
                  <a:srgbClr val="666666">
                    <a:lumMod val="60000"/>
                    <a:lumOff val="40000"/>
                    <a:alpha val="2000"/>
                  </a:srgbClr>
                </a:gs>
                <a:gs pos="100000">
                  <a:srgbClr val="666666">
                    <a:lumMod val="60000"/>
                    <a:lumOff val="40000"/>
                    <a:alpha val="15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 algn="ctr">
              <a:gradFill flip="none" rotWithShape="1">
                <a:gsLst>
                  <a:gs pos="0">
                    <a:srgbClr val="666666">
                      <a:lumMod val="60000"/>
                      <a:lumOff val="40000"/>
                      <a:alpha val="80000"/>
                    </a:srgbClr>
                  </a:gs>
                  <a:gs pos="100000">
                    <a:srgbClr val="666666">
                      <a:lumMod val="60000"/>
                      <a:lumOff val="40000"/>
                      <a:alpha val="40000"/>
                    </a:srgbClr>
                  </a:gs>
                </a:gsLst>
                <a:lin ang="0" scaled="0"/>
                <a:tileRect/>
              </a:gra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square" lIns="0" tIns="0" rIns="0" bIns="0" anchor="ctr" anchorCtr="1"/>
            <a:lstStyle>
              <a:defPPr>
                <a:defRPr lang="en-US"/>
              </a:defPPr>
              <a:lvl1pPr algn="ctr" defTabSz="914355">
                <a:defRPr sz="1200" b="1" kern="0" spc="50">
                  <a:solidFill>
                    <a:sysClr val="windowText" lastClr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defRPr>
              </a:lvl1pPr>
              <a:lvl2pPr defTabSz="684213"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2pPr>
              <a:lvl3pPr defTabSz="684213"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3pPr>
              <a:lvl4pPr defTabSz="684213"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4pPr>
              <a:lvl5pPr defTabSz="684213"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5pPr>
              <a:lvl6pPr marL="457200" indent="1828800" defTabSz="684213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6pPr>
              <a:lvl7pPr marL="914400" indent="1828800" defTabSz="684213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7pPr>
              <a:lvl8pPr marL="1371600" indent="1828800" defTabSz="684213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8pPr>
              <a:lvl9pPr marL="1828800" indent="1828800" defTabSz="684213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9pPr>
            </a:lstStyle>
            <a:p>
              <a:endParaRPr lang="en-US" dirty="0">
                <a:sym typeface="Huawei Sans" panose="020C0503030203020204" pitchFamily="34" charset="0"/>
              </a:endParaRPr>
            </a:p>
          </p:txBody>
        </p:sp>
        <p:sp>
          <p:nvSpPr>
            <p:cNvPr id="64" name="Freeform 9">
              <a:extLst>
                <a:ext uri="{FF2B5EF4-FFF2-40B4-BE49-F238E27FC236}">
                  <a16:creationId xmlns:a16="http://schemas.microsoft.com/office/drawing/2014/main" id="{89B29A7D-CAF9-4625-B8D9-DE508A948A1D}"/>
                </a:ext>
              </a:extLst>
            </p:cNvPr>
            <p:cNvSpPr>
              <a:spLocks/>
            </p:cNvSpPr>
            <p:nvPr/>
          </p:nvSpPr>
          <p:spPr bwMode="auto">
            <a:xfrm rot="10800000" flipH="1">
              <a:off x="715627" y="3175270"/>
              <a:ext cx="170074" cy="1700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0"/>
                </a:cxn>
                <a:cxn ang="0">
                  <a:pos x="80" y="15"/>
                </a:cxn>
                <a:cxn ang="0">
                  <a:pos x="14" y="15"/>
                </a:cxn>
                <a:cxn ang="0">
                  <a:pos x="14" y="81"/>
                </a:cxn>
                <a:cxn ang="0">
                  <a:pos x="0" y="95"/>
                </a:cxn>
                <a:cxn ang="0">
                  <a:pos x="0" y="0"/>
                </a:cxn>
              </a:cxnLst>
              <a:rect l="0" t="0" r="r" b="b"/>
              <a:pathLst>
                <a:path w="95" h="95">
                  <a:moveTo>
                    <a:pt x="0" y="0"/>
                  </a:moveTo>
                  <a:lnTo>
                    <a:pt x="95" y="0"/>
                  </a:lnTo>
                  <a:lnTo>
                    <a:pt x="80" y="15"/>
                  </a:lnTo>
                  <a:lnTo>
                    <a:pt x="14" y="15"/>
                  </a:lnTo>
                  <a:lnTo>
                    <a:pt x="14" y="81"/>
                  </a:lnTo>
                  <a:lnTo>
                    <a:pt x="0" y="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7000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34" tIns="45717" rIns="91434" bIns="45717" numCol="1" anchor="t" anchorCtr="0" compatLnSpc="1">
              <a:prstTxWarp prst="textNoShape">
                <a:avLst/>
              </a:prstTxWarp>
            </a:bodyPr>
            <a:lstStyle/>
            <a:p>
              <a:pPr defTabSz="870979" fontAlgn="ctr">
                <a:defRPr/>
              </a:pPr>
              <a:endParaRPr lang="en-US" altLang="zh-CN" sz="2700" kern="0" dirty="0">
                <a:solidFill>
                  <a:srgbClr val="1D1D1A"/>
                </a:solidFill>
              </a:endParaRPr>
            </a:p>
          </p:txBody>
        </p:sp>
        <p:sp>
          <p:nvSpPr>
            <p:cNvPr id="65" name="Freeform 9">
              <a:extLst>
                <a:ext uri="{FF2B5EF4-FFF2-40B4-BE49-F238E27FC236}">
                  <a16:creationId xmlns:a16="http://schemas.microsoft.com/office/drawing/2014/main" id="{47D3AA60-BBF4-4E7E-B90F-151BA9D90DCB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752491" y="1154057"/>
              <a:ext cx="170074" cy="1700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0"/>
                </a:cxn>
                <a:cxn ang="0">
                  <a:pos x="80" y="15"/>
                </a:cxn>
                <a:cxn ang="0">
                  <a:pos x="14" y="15"/>
                </a:cxn>
                <a:cxn ang="0">
                  <a:pos x="14" y="81"/>
                </a:cxn>
                <a:cxn ang="0">
                  <a:pos x="0" y="95"/>
                </a:cxn>
                <a:cxn ang="0">
                  <a:pos x="0" y="0"/>
                </a:cxn>
              </a:cxnLst>
              <a:rect l="0" t="0" r="r" b="b"/>
              <a:pathLst>
                <a:path w="95" h="95">
                  <a:moveTo>
                    <a:pt x="0" y="0"/>
                  </a:moveTo>
                  <a:lnTo>
                    <a:pt x="95" y="0"/>
                  </a:lnTo>
                  <a:lnTo>
                    <a:pt x="80" y="15"/>
                  </a:lnTo>
                  <a:lnTo>
                    <a:pt x="14" y="15"/>
                  </a:lnTo>
                  <a:lnTo>
                    <a:pt x="14" y="81"/>
                  </a:lnTo>
                  <a:lnTo>
                    <a:pt x="0" y="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7000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34" tIns="45717" rIns="91434" bIns="45717" numCol="1" anchor="t" anchorCtr="0" compatLnSpc="1">
              <a:prstTxWarp prst="textNoShape">
                <a:avLst/>
              </a:prstTxWarp>
            </a:bodyPr>
            <a:lstStyle/>
            <a:p>
              <a:pPr defTabSz="870979" fontAlgn="ctr">
                <a:defRPr/>
              </a:pPr>
              <a:endParaRPr lang="en-US" altLang="zh-CN" sz="2700" kern="0" dirty="0">
                <a:solidFill>
                  <a:srgbClr val="1D1D1A"/>
                </a:solidFill>
              </a:endParaRPr>
            </a:p>
          </p:txBody>
        </p:sp>
        <p:sp>
          <p:nvSpPr>
            <p:cNvPr id="66" name="Freeform 9">
              <a:extLst>
                <a:ext uri="{FF2B5EF4-FFF2-40B4-BE49-F238E27FC236}">
                  <a16:creationId xmlns:a16="http://schemas.microsoft.com/office/drawing/2014/main" id="{835ACB6A-DB3C-4E71-AC02-7DEEE0729BF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626" y="1154057"/>
              <a:ext cx="170074" cy="1700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0"/>
                </a:cxn>
                <a:cxn ang="0">
                  <a:pos x="80" y="15"/>
                </a:cxn>
                <a:cxn ang="0">
                  <a:pos x="14" y="15"/>
                </a:cxn>
                <a:cxn ang="0">
                  <a:pos x="14" y="81"/>
                </a:cxn>
                <a:cxn ang="0">
                  <a:pos x="0" y="95"/>
                </a:cxn>
                <a:cxn ang="0">
                  <a:pos x="0" y="0"/>
                </a:cxn>
              </a:cxnLst>
              <a:rect l="0" t="0" r="r" b="b"/>
              <a:pathLst>
                <a:path w="95" h="95">
                  <a:moveTo>
                    <a:pt x="0" y="0"/>
                  </a:moveTo>
                  <a:lnTo>
                    <a:pt x="95" y="0"/>
                  </a:lnTo>
                  <a:lnTo>
                    <a:pt x="80" y="15"/>
                  </a:lnTo>
                  <a:lnTo>
                    <a:pt x="14" y="15"/>
                  </a:lnTo>
                  <a:lnTo>
                    <a:pt x="14" y="81"/>
                  </a:lnTo>
                  <a:lnTo>
                    <a:pt x="0" y="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7000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34" tIns="45717" rIns="91434" bIns="45717" numCol="1" anchor="t" anchorCtr="0" compatLnSpc="1">
              <a:prstTxWarp prst="textNoShape">
                <a:avLst/>
              </a:prstTxWarp>
            </a:bodyPr>
            <a:lstStyle/>
            <a:p>
              <a:pPr defTabSz="870979" fontAlgn="ctr">
                <a:defRPr/>
              </a:pPr>
              <a:endParaRPr lang="en-US" altLang="zh-CN" sz="2700" kern="0" dirty="0">
                <a:solidFill>
                  <a:srgbClr val="1D1D1A"/>
                </a:solidFill>
              </a:endParaRPr>
            </a:p>
          </p:txBody>
        </p:sp>
        <p:sp>
          <p:nvSpPr>
            <p:cNvPr id="67" name="Freeform 9">
              <a:extLst>
                <a:ext uri="{FF2B5EF4-FFF2-40B4-BE49-F238E27FC236}">
                  <a16:creationId xmlns:a16="http://schemas.microsoft.com/office/drawing/2014/main" id="{5D7C6C4C-3E7D-416C-B453-8B6137939AB2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5752491" y="3175269"/>
              <a:ext cx="170074" cy="1700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0"/>
                </a:cxn>
                <a:cxn ang="0">
                  <a:pos x="80" y="15"/>
                </a:cxn>
                <a:cxn ang="0">
                  <a:pos x="14" y="15"/>
                </a:cxn>
                <a:cxn ang="0">
                  <a:pos x="14" y="81"/>
                </a:cxn>
                <a:cxn ang="0">
                  <a:pos x="0" y="95"/>
                </a:cxn>
                <a:cxn ang="0">
                  <a:pos x="0" y="0"/>
                </a:cxn>
              </a:cxnLst>
              <a:rect l="0" t="0" r="r" b="b"/>
              <a:pathLst>
                <a:path w="95" h="95">
                  <a:moveTo>
                    <a:pt x="0" y="0"/>
                  </a:moveTo>
                  <a:lnTo>
                    <a:pt x="95" y="0"/>
                  </a:lnTo>
                  <a:lnTo>
                    <a:pt x="80" y="15"/>
                  </a:lnTo>
                  <a:lnTo>
                    <a:pt x="14" y="15"/>
                  </a:lnTo>
                  <a:lnTo>
                    <a:pt x="14" y="81"/>
                  </a:lnTo>
                  <a:lnTo>
                    <a:pt x="0" y="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7000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34" tIns="45717" rIns="91434" bIns="45717" numCol="1" anchor="ctr" anchorCtr="0" compatLnSpc="1">
              <a:prstTxWarp prst="textNoShape">
                <a:avLst/>
              </a:prstTxWarp>
            </a:bodyPr>
            <a:lstStyle/>
            <a:p>
              <a:pPr defTabSz="870979" fontAlgn="ctr">
                <a:defRPr/>
              </a:pPr>
              <a:endParaRPr lang="en-US" altLang="zh-CN" sz="2700" kern="0" dirty="0">
                <a:solidFill>
                  <a:srgbClr val="1D1D1A"/>
                </a:solidFill>
              </a:endParaRPr>
            </a:p>
          </p:txBody>
        </p:sp>
      </p:grpSp>
      <p:sp>
        <p:nvSpPr>
          <p:cNvPr id="16" name="矩形 15">
            <a:extLst>
              <a:ext uri="{FF2B5EF4-FFF2-40B4-BE49-F238E27FC236}">
                <a16:creationId xmlns:a16="http://schemas.microsoft.com/office/drawing/2014/main" id="{1924FF9C-B529-4CA0-AE91-CFDCEB69C4CB}"/>
              </a:ext>
            </a:extLst>
          </p:cNvPr>
          <p:cNvSpPr/>
          <p:nvPr/>
        </p:nvSpPr>
        <p:spPr>
          <a:xfrm>
            <a:off x="2685952" y="1882250"/>
            <a:ext cx="2566407" cy="81855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ctr">
              <a:lnSpc>
                <a:spcPts val="2200"/>
              </a:lnSpc>
            </a:pPr>
            <a:r>
              <a:rPr lang="en-US" altLang="zh-CN" sz="14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CDP</a:t>
            </a:r>
            <a:r>
              <a:rPr lang="zh-CN" altLang="zh-CN" sz="14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全球环境信息研究中心</a:t>
            </a:r>
            <a:endParaRPr lang="en-US" altLang="zh-CN" sz="1400" dirty="0">
              <a:solidFill>
                <a:srgbClr val="DDDDDD">
                  <a:lumMod val="10000"/>
                </a:srgbClr>
              </a:solidFill>
              <a:latin typeface="微软雅黑" panose="020B0503020204020204" pitchFamily="34" charset="-122"/>
            </a:endParaRPr>
          </a:p>
          <a:p>
            <a:pPr algn="ctr">
              <a:lnSpc>
                <a:spcPts val="2200"/>
              </a:lnSpc>
            </a:pPr>
            <a:r>
              <a:rPr lang="zh-CN" altLang="en-US" sz="1400" b="1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“</a:t>
            </a:r>
            <a:r>
              <a:rPr lang="zh-CN" altLang="zh-CN" sz="1400" b="1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应对气候变化行动领导力奖</a:t>
            </a:r>
            <a:r>
              <a:rPr lang="zh-CN" altLang="en-US" sz="1400" b="1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”</a:t>
            </a:r>
            <a:r>
              <a:rPr lang="zh-CN" altLang="zh-CN" sz="1400" b="1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 </a:t>
            </a:r>
            <a:endParaRPr lang="en-US" altLang="zh-CN" sz="1400" b="1" dirty="0">
              <a:solidFill>
                <a:srgbClr val="DDDDDD">
                  <a:lumMod val="10000"/>
                </a:srgbClr>
              </a:solidFill>
              <a:latin typeface="微软雅黑" panose="020B0503020204020204" pitchFamily="34" charset="-122"/>
            </a:endParaRPr>
          </a:p>
          <a:p>
            <a:pPr algn="ctr">
              <a:lnSpc>
                <a:spcPts val="2200"/>
              </a:lnSpc>
            </a:pPr>
            <a:r>
              <a:rPr lang="en-US" altLang="zh-CN" sz="14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sym typeface="微软雅黑" panose="020B0503020204020204" pitchFamily="34" charset="-122"/>
              </a:rPr>
              <a:t>2021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964" b="22713"/>
          <a:stretch/>
        </p:blipFill>
        <p:spPr>
          <a:xfrm>
            <a:off x="1194204" y="1916159"/>
            <a:ext cx="1287215" cy="750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2367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梯形 21">
            <a:extLst>
              <a:ext uri="{FF2B5EF4-FFF2-40B4-BE49-F238E27FC236}">
                <a16:creationId xmlns:a16="http://schemas.microsoft.com/office/drawing/2014/main" id="{6891F266-72AC-44EF-8D2C-EF92C19338DD}"/>
              </a:ext>
            </a:extLst>
          </p:cNvPr>
          <p:cNvSpPr/>
          <p:nvPr/>
        </p:nvSpPr>
        <p:spPr>
          <a:xfrm>
            <a:off x="717811" y="5455882"/>
            <a:ext cx="3396217" cy="359394"/>
          </a:xfrm>
          <a:prstGeom prst="trapezoid">
            <a:avLst>
              <a:gd name="adj" fmla="val 114123"/>
            </a:avLst>
          </a:prstGeom>
          <a:gradFill>
            <a:gsLst>
              <a:gs pos="0">
                <a:sysClr val="window" lastClr="FFFFFF">
                  <a:lumMod val="65000"/>
                  <a:alpha val="0"/>
                </a:sysClr>
              </a:gs>
              <a:gs pos="100000">
                <a:srgbClr val="929292">
                  <a:alpha val="20000"/>
                </a:srgbClr>
              </a:gs>
            </a:gsLst>
            <a:lin ang="5400000" scaled="0"/>
          </a:gradFill>
          <a:ln w="3175" cap="flat" cmpd="sng" algn="ctr">
            <a:gradFill>
              <a:gsLst>
                <a:gs pos="0">
                  <a:sysClr val="window" lastClr="FFFFFF">
                    <a:lumMod val="95000"/>
                    <a:alpha val="0"/>
                  </a:sysClr>
                </a:gs>
                <a:gs pos="50000">
                  <a:sysClr val="window" lastClr="FFFFFF">
                    <a:lumMod val="95000"/>
                    <a:alpha val="0"/>
                  </a:sysClr>
                </a:gs>
                <a:gs pos="100000">
                  <a:srgbClr val="929292">
                    <a:alpha val="40000"/>
                  </a:srgbClr>
                </a:gs>
              </a:gsLst>
              <a:lin ang="5400000" scaled="0"/>
            </a:gradFill>
            <a:prstDash val="solid"/>
            <a:miter lim="800000"/>
          </a:ln>
          <a:effectLst/>
        </p:spPr>
        <p:txBody>
          <a:bodyPr lIns="182871" tIns="91435" rIns="182871" bIns="91435" anchor="ctr"/>
          <a:lstStyle/>
          <a:p>
            <a:pPr algn="ctr" defTabSz="914400">
              <a:defRPr/>
            </a:pPr>
            <a:endParaRPr lang="zh-CN" altLang="en-US" sz="2800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等线" panose="020F0502020204030204"/>
              <a:ea typeface="等线" panose="02010600030101010101" pitchFamily="2" charset="-122"/>
            </a:endParaRPr>
          </a:p>
        </p:txBody>
      </p:sp>
      <p:sp>
        <p:nvSpPr>
          <p:cNvPr id="41" name="梯形 40">
            <a:extLst>
              <a:ext uri="{FF2B5EF4-FFF2-40B4-BE49-F238E27FC236}">
                <a16:creationId xmlns:a16="http://schemas.microsoft.com/office/drawing/2014/main" id="{085F2BA8-E590-4A38-B772-3D23F103E938}"/>
              </a:ext>
            </a:extLst>
          </p:cNvPr>
          <p:cNvSpPr/>
          <p:nvPr/>
        </p:nvSpPr>
        <p:spPr>
          <a:xfrm>
            <a:off x="4254031" y="5455882"/>
            <a:ext cx="3678683" cy="359394"/>
          </a:xfrm>
          <a:prstGeom prst="trapezoid">
            <a:avLst>
              <a:gd name="adj" fmla="val 114123"/>
            </a:avLst>
          </a:prstGeom>
          <a:gradFill>
            <a:gsLst>
              <a:gs pos="0">
                <a:sysClr val="window" lastClr="FFFFFF">
                  <a:lumMod val="65000"/>
                  <a:alpha val="0"/>
                </a:sysClr>
              </a:gs>
              <a:gs pos="100000">
                <a:srgbClr val="929292">
                  <a:alpha val="20000"/>
                </a:srgbClr>
              </a:gs>
            </a:gsLst>
            <a:lin ang="5400000" scaled="0"/>
          </a:gradFill>
          <a:ln w="3175" cap="flat" cmpd="sng" algn="ctr">
            <a:gradFill>
              <a:gsLst>
                <a:gs pos="0">
                  <a:sysClr val="window" lastClr="FFFFFF">
                    <a:lumMod val="95000"/>
                    <a:alpha val="0"/>
                  </a:sysClr>
                </a:gs>
                <a:gs pos="50000">
                  <a:sysClr val="window" lastClr="FFFFFF">
                    <a:lumMod val="95000"/>
                    <a:alpha val="0"/>
                  </a:sysClr>
                </a:gs>
                <a:gs pos="100000">
                  <a:srgbClr val="929292">
                    <a:alpha val="40000"/>
                  </a:srgbClr>
                </a:gs>
              </a:gsLst>
              <a:lin ang="5400000" scaled="0"/>
            </a:gradFill>
            <a:prstDash val="solid"/>
            <a:miter lim="800000"/>
          </a:ln>
          <a:effectLst/>
        </p:spPr>
        <p:txBody>
          <a:bodyPr lIns="182871" tIns="91435" rIns="182871" bIns="91435" anchor="ctr"/>
          <a:lstStyle/>
          <a:p>
            <a:pPr algn="ctr" defTabSz="914400">
              <a:defRPr/>
            </a:pPr>
            <a:endParaRPr lang="zh-CN" altLang="en-US" sz="2800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等线" panose="020F0502020204030204"/>
              <a:ea typeface="等线" panose="02010600030101010101" pitchFamily="2" charset="-122"/>
            </a:endParaRPr>
          </a:p>
        </p:txBody>
      </p:sp>
      <p:sp>
        <p:nvSpPr>
          <p:cNvPr id="42" name="梯形 41">
            <a:extLst>
              <a:ext uri="{FF2B5EF4-FFF2-40B4-BE49-F238E27FC236}">
                <a16:creationId xmlns:a16="http://schemas.microsoft.com/office/drawing/2014/main" id="{185191EF-7D81-42DD-813D-BADF377D5165}"/>
              </a:ext>
            </a:extLst>
          </p:cNvPr>
          <p:cNvSpPr/>
          <p:nvPr/>
        </p:nvSpPr>
        <p:spPr>
          <a:xfrm>
            <a:off x="8072718" y="5455882"/>
            <a:ext cx="3396217" cy="359394"/>
          </a:xfrm>
          <a:prstGeom prst="trapezoid">
            <a:avLst>
              <a:gd name="adj" fmla="val 114123"/>
            </a:avLst>
          </a:prstGeom>
          <a:gradFill>
            <a:gsLst>
              <a:gs pos="0">
                <a:sysClr val="window" lastClr="FFFFFF">
                  <a:lumMod val="65000"/>
                  <a:alpha val="0"/>
                </a:sysClr>
              </a:gs>
              <a:gs pos="100000">
                <a:srgbClr val="929292">
                  <a:alpha val="20000"/>
                </a:srgbClr>
              </a:gs>
            </a:gsLst>
            <a:lin ang="5400000" scaled="0"/>
          </a:gradFill>
          <a:ln w="3175" cap="flat" cmpd="sng" algn="ctr">
            <a:gradFill>
              <a:gsLst>
                <a:gs pos="0">
                  <a:sysClr val="window" lastClr="FFFFFF">
                    <a:lumMod val="95000"/>
                    <a:alpha val="0"/>
                  </a:sysClr>
                </a:gs>
                <a:gs pos="50000">
                  <a:sysClr val="window" lastClr="FFFFFF">
                    <a:lumMod val="95000"/>
                    <a:alpha val="0"/>
                  </a:sysClr>
                </a:gs>
                <a:gs pos="100000">
                  <a:srgbClr val="929292">
                    <a:alpha val="40000"/>
                  </a:srgbClr>
                </a:gs>
              </a:gsLst>
              <a:lin ang="5400000" scaled="0"/>
            </a:gradFill>
            <a:prstDash val="solid"/>
            <a:miter lim="800000"/>
          </a:ln>
          <a:effectLst/>
        </p:spPr>
        <p:txBody>
          <a:bodyPr lIns="182871" tIns="91435" rIns="182871" bIns="91435" anchor="ctr"/>
          <a:lstStyle/>
          <a:p>
            <a:pPr algn="ctr" defTabSz="914400">
              <a:defRPr/>
            </a:pPr>
            <a:endParaRPr lang="zh-CN" altLang="en-US" sz="2800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等线" panose="020F0502020204030204"/>
              <a:ea typeface="等线" panose="02010600030101010101" pitchFamily="2" charset="-122"/>
            </a:endParaRPr>
          </a:p>
        </p:txBody>
      </p:sp>
      <p:sp>
        <p:nvSpPr>
          <p:cNvPr id="26" name="椭圆 25">
            <a:extLst>
              <a:ext uri="{FF2B5EF4-FFF2-40B4-BE49-F238E27FC236}">
                <a16:creationId xmlns:a16="http://schemas.microsoft.com/office/drawing/2014/main" id="{857DA39F-264D-444C-8DC5-9FE7ACD08E18}"/>
              </a:ext>
            </a:extLst>
          </p:cNvPr>
          <p:cNvSpPr/>
          <p:nvPr/>
        </p:nvSpPr>
        <p:spPr>
          <a:xfrm>
            <a:off x="5147377" y="1415635"/>
            <a:ext cx="1884545" cy="1884736"/>
          </a:xfrm>
          <a:prstGeom prst="ellipse">
            <a:avLst/>
          </a:prstGeom>
          <a:gradFill flip="none" rotWithShape="1">
            <a:gsLst>
              <a:gs pos="38000">
                <a:srgbClr val="666666">
                  <a:lumMod val="60000"/>
                  <a:lumOff val="40000"/>
                  <a:alpha val="2000"/>
                </a:srgbClr>
              </a:gs>
              <a:gs pos="100000">
                <a:srgbClr val="666666">
                  <a:lumMod val="60000"/>
                  <a:lumOff val="40000"/>
                  <a:alpha val="15000"/>
                </a:srgbClr>
              </a:gs>
            </a:gsLst>
            <a:path path="shape">
              <a:fillToRect l="50000" t="50000" r="50000" b="50000"/>
            </a:path>
            <a:tileRect/>
          </a:gradFill>
          <a:ln w="6350" cap="flat" cmpd="sng" algn="ctr">
            <a:gradFill flip="none" rotWithShape="1">
              <a:gsLst>
                <a:gs pos="0">
                  <a:srgbClr val="666666">
                    <a:lumMod val="60000"/>
                    <a:lumOff val="40000"/>
                    <a:alpha val="80000"/>
                  </a:srgbClr>
                </a:gs>
                <a:gs pos="100000">
                  <a:srgbClr val="666666">
                    <a:lumMod val="60000"/>
                    <a:lumOff val="40000"/>
                    <a:alpha val="40000"/>
                  </a:srgbClr>
                </a:gs>
              </a:gsLst>
              <a:lin ang="0" scaled="0"/>
              <a:tileRect/>
            </a:gra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0" tIns="0" rIns="0" bIns="0" anchor="ctr" anchorCtr="1"/>
          <a:lstStyle/>
          <a:p>
            <a:pPr algn="ctr" defTabSz="914355"/>
            <a:endParaRPr lang="zh-CN" altLang="en-US" sz="1200" b="1" kern="0" spc="5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27" name="椭圆 26">
            <a:extLst>
              <a:ext uri="{FF2B5EF4-FFF2-40B4-BE49-F238E27FC236}">
                <a16:creationId xmlns:a16="http://schemas.microsoft.com/office/drawing/2014/main" id="{F1450D48-A8D4-42BC-9C6E-6F6FA756C31A}"/>
              </a:ext>
            </a:extLst>
          </p:cNvPr>
          <p:cNvSpPr/>
          <p:nvPr/>
        </p:nvSpPr>
        <p:spPr>
          <a:xfrm>
            <a:off x="1902347" y="1415635"/>
            <a:ext cx="1884545" cy="1884736"/>
          </a:xfrm>
          <a:prstGeom prst="ellipse">
            <a:avLst/>
          </a:prstGeom>
          <a:gradFill flip="none" rotWithShape="1">
            <a:gsLst>
              <a:gs pos="38000">
                <a:srgbClr val="666666">
                  <a:lumMod val="60000"/>
                  <a:lumOff val="40000"/>
                  <a:alpha val="2000"/>
                </a:srgbClr>
              </a:gs>
              <a:gs pos="100000">
                <a:srgbClr val="666666">
                  <a:lumMod val="60000"/>
                  <a:lumOff val="40000"/>
                  <a:alpha val="15000"/>
                </a:srgbClr>
              </a:gs>
            </a:gsLst>
            <a:path path="shape">
              <a:fillToRect l="50000" t="50000" r="50000" b="50000"/>
            </a:path>
            <a:tileRect/>
          </a:gradFill>
          <a:ln w="6350" cap="flat" cmpd="sng" algn="ctr">
            <a:gradFill flip="none" rotWithShape="1">
              <a:gsLst>
                <a:gs pos="0">
                  <a:srgbClr val="666666">
                    <a:lumMod val="60000"/>
                    <a:lumOff val="40000"/>
                    <a:alpha val="80000"/>
                  </a:srgbClr>
                </a:gs>
                <a:gs pos="100000">
                  <a:srgbClr val="666666">
                    <a:lumMod val="60000"/>
                    <a:lumOff val="40000"/>
                    <a:alpha val="40000"/>
                  </a:srgbClr>
                </a:gs>
              </a:gsLst>
              <a:lin ang="0" scaled="0"/>
              <a:tileRect/>
            </a:gra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0" tIns="0" rIns="0" bIns="0" anchor="ctr" anchorCtr="1"/>
          <a:lstStyle/>
          <a:p>
            <a:pPr algn="ctr" defTabSz="914355"/>
            <a:endParaRPr lang="zh-CN" altLang="en-US" sz="1200" b="1" kern="0" spc="5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28" name="椭圆 27">
            <a:extLst>
              <a:ext uri="{FF2B5EF4-FFF2-40B4-BE49-F238E27FC236}">
                <a16:creationId xmlns:a16="http://schemas.microsoft.com/office/drawing/2014/main" id="{DC74A5B3-6224-4082-8301-BEF5355B59F7}"/>
              </a:ext>
            </a:extLst>
          </p:cNvPr>
          <p:cNvSpPr/>
          <p:nvPr/>
        </p:nvSpPr>
        <p:spPr>
          <a:xfrm>
            <a:off x="8393945" y="1415635"/>
            <a:ext cx="1884545" cy="1884736"/>
          </a:xfrm>
          <a:prstGeom prst="ellipse">
            <a:avLst/>
          </a:prstGeom>
          <a:gradFill flip="none" rotWithShape="1">
            <a:gsLst>
              <a:gs pos="38000">
                <a:srgbClr val="666666">
                  <a:lumMod val="60000"/>
                  <a:lumOff val="40000"/>
                  <a:alpha val="2000"/>
                </a:srgbClr>
              </a:gs>
              <a:gs pos="100000">
                <a:srgbClr val="666666">
                  <a:lumMod val="60000"/>
                  <a:lumOff val="40000"/>
                  <a:alpha val="15000"/>
                </a:srgbClr>
              </a:gs>
            </a:gsLst>
            <a:path path="shape">
              <a:fillToRect l="50000" t="50000" r="50000" b="50000"/>
            </a:path>
            <a:tileRect/>
          </a:gradFill>
          <a:ln w="6350" cap="flat" cmpd="sng" algn="ctr">
            <a:gradFill flip="none" rotWithShape="1">
              <a:gsLst>
                <a:gs pos="0">
                  <a:srgbClr val="666666">
                    <a:lumMod val="60000"/>
                    <a:lumOff val="40000"/>
                    <a:alpha val="80000"/>
                  </a:srgbClr>
                </a:gs>
                <a:gs pos="100000">
                  <a:srgbClr val="666666">
                    <a:lumMod val="60000"/>
                    <a:lumOff val="40000"/>
                    <a:alpha val="40000"/>
                  </a:srgbClr>
                </a:gs>
              </a:gsLst>
              <a:lin ang="0" scaled="0"/>
              <a:tileRect/>
            </a:gra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0" tIns="0" rIns="0" bIns="0" anchor="ctr" anchorCtr="1"/>
          <a:lstStyle/>
          <a:p>
            <a:pPr algn="ctr" defTabSz="914355"/>
            <a:endParaRPr lang="zh-CN" altLang="en-US" sz="1200" b="1" kern="0" spc="5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2054282" y="5331727"/>
            <a:ext cx="7232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kern="0" dirty="0">
                <a:solidFill>
                  <a:srgbClr val="DDDDDD">
                    <a:lumMod val="25000"/>
                  </a:srgbClr>
                </a:solidFill>
                <a:latin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2021</a:t>
            </a:r>
            <a:endParaRPr lang="zh-CN" altLang="en-US" dirty="0">
              <a:solidFill>
                <a:srgbClr val="DDDDDD">
                  <a:lumMod val="25000"/>
                </a:srgbClr>
              </a:solidFill>
            </a:endParaRPr>
          </a:p>
        </p:txBody>
      </p:sp>
      <p:sp>
        <p:nvSpPr>
          <p:cNvPr id="7" name="矩形 6"/>
          <p:cNvSpPr/>
          <p:nvPr/>
        </p:nvSpPr>
        <p:spPr>
          <a:xfrm>
            <a:off x="9409189" y="5326154"/>
            <a:ext cx="7232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solidFill>
                  <a:srgbClr val="DDDDDD">
                    <a:lumMod val="25000"/>
                  </a:srgbClr>
                </a:solidFill>
                <a:latin typeface="微软雅黑" panose="020B0503020204020204" pitchFamily="34" charset="-122"/>
                <a:cs typeface="+mn-ea"/>
              </a:rPr>
              <a:t>2022</a:t>
            </a:r>
            <a:endParaRPr lang="zh-CN" altLang="en-US" dirty="0">
              <a:solidFill>
                <a:srgbClr val="DDDDDD">
                  <a:lumMod val="25000"/>
                </a:srgbClr>
              </a:solidFill>
              <a:latin typeface="微软雅黑" panose="020B0503020204020204" pitchFamily="34" charset="-122"/>
              <a:cs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03077" y="1968358"/>
            <a:ext cx="973144" cy="779291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52484" y="1893533"/>
            <a:ext cx="784270" cy="928941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83373" y="1908048"/>
            <a:ext cx="905688" cy="905688"/>
          </a:xfrm>
          <a:prstGeom prst="rect">
            <a:avLst/>
          </a:prstGeom>
        </p:spPr>
      </p:pic>
      <p:sp>
        <p:nvSpPr>
          <p:cNvPr id="23" name="副标题 1">
            <a:extLst>
              <a:ext uri="{FF2B5EF4-FFF2-40B4-BE49-F238E27FC236}">
                <a16:creationId xmlns:a16="http://schemas.microsoft.com/office/drawing/2014/main" id="{23AB4420-7121-4919-B386-4176CB300321}"/>
              </a:ext>
            </a:extLst>
          </p:cNvPr>
          <p:cNvSpPr txBox="1">
            <a:spLocks/>
          </p:cNvSpPr>
          <p:nvPr/>
        </p:nvSpPr>
        <p:spPr>
          <a:xfrm>
            <a:off x="723900" y="447675"/>
            <a:ext cx="107315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96950" indent="-296950" algn="l" defTabSz="1187798" rtl="0" eaLnBrk="1" latinLnBrk="0" hangingPunct="1">
              <a:lnSpc>
                <a:spcPct val="90000"/>
              </a:lnSpc>
              <a:spcBef>
                <a:spcPts val="1299"/>
              </a:spcBef>
              <a:buFont typeface="Arial" panose="020B0604020202020204" pitchFamily="34" charset="0"/>
              <a:buChar char="•"/>
              <a:defRPr sz="36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90849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84748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5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78648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72547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6447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60346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54245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48144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zh-CN" altLang="en-US" sz="2800" dirty="0">
                <a:solidFill>
                  <a:srgbClr val="1D1D1A"/>
                </a:solidFill>
                <a:latin typeface="微软雅黑" panose="020B0503020204020204" pitchFamily="34" charset="-122"/>
                <a:cs typeface="+mn-ea"/>
              </a:rPr>
              <a:t>以世界级平台汇聚全球优秀创新人才</a:t>
            </a:r>
            <a:endParaRPr lang="zh-CN" altLang="en-US" sz="2800" dirty="0">
              <a:solidFill>
                <a:srgbClr val="1D1D1A"/>
              </a:solidFill>
              <a:latin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30" name="梯形 29">
            <a:extLst>
              <a:ext uri="{FF2B5EF4-FFF2-40B4-BE49-F238E27FC236}">
                <a16:creationId xmlns:a16="http://schemas.microsoft.com/office/drawing/2014/main" id="{BAD015C5-DEE7-4B4D-BF59-59A18FB61B02}"/>
              </a:ext>
            </a:extLst>
          </p:cNvPr>
          <p:cNvSpPr/>
          <p:nvPr/>
        </p:nvSpPr>
        <p:spPr>
          <a:xfrm>
            <a:off x="4254031" y="3213770"/>
            <a:ext cx="3678683" cy="307742"/>
          </a:xfrm>
          <a:prstGeom prst="trapezoid">
            <a:avLst>
              <a:gd name="adj" fmla="val 245627"/>
            </a:avLst>
          </a:prstGeom>
          <a:gradFill>
            <a:gsLst>
              <a:gs pos="0">
                <a:srgbClr val="666666">
                  <a:lumMod val="40000"/>
                  <a:lumOff val="60000"/>
                  <a:alpha val="27000"/>
                </a:srgbClr>
              </a:gs>
              <a:gs pos="67000">
                <a:srgbClr val="666666">
                  <a:lumMod val="40000"/>
                  <a:lumOff val="60000"/>
                  <a:alpha val="0"/>
                </a:srgbClr>
              </a:gs>
            </a:gsLst>
            <a:lin ang="16200000" scaled="1"/>
          </a:gradFill>
          <a:ln w="6350" cap="flat" cmpd="sng" algn="ctr">
            <a:gradFill flip="none" rotWithShape="1">
              <a:gsLst>
                <a:gs pos="0">
                  <a:srgbClr val="666666">
                    <a:lumMod val="40000"/>
                    <a:lumOff val="60000"/>
                  </a:srgbClr>
                </a:gs>
                <a:gs pos="71000">
                  <a:srgbClr val="666666">
                    <a:lumMod val="40000"/>
                    <a:lumOff val="60000"/>
                    <a:alpha val="0"/>
                  </a:srgbClr>
                </a:gs>
              </a:gsLst>
              <a:lin ang="16200000" scaled="1"/>
              <a:tileRect/>
            </a:gradFill>
            <a:prstDash val="solid"/>
            <a:miter lim="800000"/>
          </a:ln>
          <a:effectLst>
            <a:outerShdw blurRad="50800" dist="38100" dir="5400000" sx="99000" sy="99000" algn="ctr" rotWithShape="0">
              <a:srgbClr val="000000">
                <a:alpha val="10000"/>
              </a:srgbClr>
            </a:outerShdw>
          </a:effectLst>
        </p:spPr>
        <p:txBody>
          <a:bodyPr lIns="108008" tIns="45724" rIns="91447" bIns="45724" anchor="ctr">
            <a:noAutofit/>
          </a:bodyPr>
          <a:lstStyle/>
          <a:p>
            <a:pPr defTabSz="1219540" fontAlgn="ctr"/>
            <a:endParaRPr lang="zh-CN" altLang="en-US" sz="1100" b="1" kern="0" dirty="0">
              <a:solidFill>
                <a:prstClr val="black">
                  <a:lumMod val="75000"/>
                  <a:lumOff val="25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31" name="矩形 3">
            <a:extLst>
              <a:ext uri="{FF2B5EF4-FFF2-40B4-BE49-F238E27FC236}">
                <a16:creationId xmlns:a16="http://schemas.microsoft.com/office/drawing/2014/main" id="{793C9193-B1EC-4719-B762-1AACB84E117D}"/>
              </a:ext>
            </a:extLst>
          </p:cNvPr>
          <p:cNvSpPr/>
          <p:nvPr/>
        </p:nvSpPr>
        <p:spPr>
          <a:xfrm>
            <a:off x="723899" y="3136766"/>
            <a:ext cx="4241442" cy="384746"/>
          </a:xfrm>
          <a:prstGeom prst="flowChartInputOutput">
            <a:avLst/>
          </a:prstGeom>
          <a:gradFill>
            <a:gsLst>
              <a:gs pos="0">
                <a:srgbClr val="666666">
                  <a:lumMod val="40000"/>
                  <a:lumOff val="60000"/>
                  <a:alpha val="27000"/>
                </a:srgbClr>
              </a:gs>
              <a:gs pos="67000">
                <a:srgbClr val="666666">
                  <a:lumMod val="40000"/>
                  <a:lumOff val="60000"/>
                  <a:alpha val="0"/>
                </a:srgbClr>
              </a:gs>
            </a:gsLst>
            <a:lin ang="16200000" scaled="1"/>
          </a:gradFill>
          <a:ln w="6350" cap="flat" cmpd="sng" algn="ctr">
            <a:gradFill flip="none" rotWithShape="1">
              <a:gsLst>
                <a:gs pos="0">
                  <a:srgbClr val="666666">
                    <a:lumMod val="40000"/>
                    <a:lumOff val="60000"/>
                  </a:srgbClr>
                </a:gs>
                <a:gs pos="71000">
                  <a:srgbClr val="666666">
                    <a:lumMod val="40000"/>
                    <a:lumOff val="60000"/>
                    <a:alpha val="0"/>
                  </a:srgbClr>
                </a:gs>
              </a:gsLst>
              <a:lin ang="16200000" scaled="1"/>
              <a:tileRect/>
            </a:gradFill>
            <a:prstDash val="solid"/>
            <a:miter lim="800000"/>
          </a:ln>
          <a:effectLst>
            <a:outerShdw blurRad="50800" dist="38100" dir="5400000" sx="99000" sy="99000" algn="ctr" rotWithShape="0">
              <a:srgbClr val="000000">
                <a:alpha val="10000"/>
              </a:srgbClr>
            </a:outerShdw>
          </a:effectLst>
        </p:spPr>
        <p:txBody>
          <a:bodyPr lIns="108008" tIns="45724" rIns="91447" bIns="45724" anchor="ctr">
            <a:noAutofit/>
          </a:bodyPr>
          <a:lstStyle/>
          <a:p>
            <a:pPr defTabSz="1219540" fontAlgn="ctr"/>
            <a:endParaRPr lang="zh-CN" altLang="en-US" sz="1100" b="1" kern="0">
              <a:solidFill>
                <a:prstClr val="black">
                  <a:lumMod val="75000"/>
                  <a:lumOff val="25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9051B3FA-319D-418F-A6FB-3BBB347AAA00}"/>
              </a:ext>
            </a:extLst>
          </p:cNvPr>
          <p:cNvSpPr/>
          <p:nvPr/>
        </p:nvSpPr>
        <p:spPr>
          <a:xfrm>
            <a:off x="4254031" y="3525545"/>
            <a:ext cx="3678683" cy="1717098"/>
          </a:xfrm>
          <a:prstGeom prst="rect">
            <a:avLst/>
          </a:prstGeom>
          <a:gradFill>
            <a:gsLst>
              <a:gs pos="100000">
                <a:schemeClr val="bg1">
                  <a:lumMod val="60000"/>
                  <a:lumOff val="40000"/>
                  <a:alpha val="0"/>
                </a:schemeClr>
              </a:gs>
              <a:gs pos="33000">
                <a:schemeClr val="bg1">
                  <a:lumMod val="60000"/>
                  <a:lumOff val="40000"/>
                  <a:alpha val="15000"/>
                </a:schemeClr>
              </a:gs>
            </a:gsLst>
            <a:lin ang="5400000" scaled="0"/>
          </a:gradFill>
          <a:ln w="6350">
            <a:gradFill>
              <a:gsLst>
                <a:gs pos="0">
                  <a:schemeClr val="bg1">
                    <a:lumMod val="40000"/>
                    <a:lumOff val="60000"/>
                  </a:schemeClr>
                </a:gs>
                <a:gs pos="100000">
                  <a:schemeClr val="bg1">
                    <a:lumMod val="40000"/>
                    <a:lumOff val="60000"/>
                    <a:alpha val="0"/>
                  </a:schemeClr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defTabSz="914477">
              <a:lnSpc>
                <a:spcPct val="120000"/>
              </a:lnSpc>
            </a:pPr>
            <a:endParaRPr kumimoji="1" lang="zh-CN" altLang="en-US" sz="1200" dirty="0">
              <a:solidFill>
                <a:srgbClr val="FFFFFF"/>
              </a:solidFill>
              <a:latin typeface="微软雅黑" panose="020B0503020204020204" pitchFamily="34" charset="-122"/>
            </a:endParaRP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DC9EBDB1-6C05-4AC5-A3FC-FC6217B64CF6}"/>
              </a:ext>
            </a:extLst>
          </p:cNvPr>
          <p:cNvSpPr/>
          <p:nvPr/>
        </p:nvSpPr>
        <p:spPr>
          <a:xfrm>
            <a:off x="717810" y="3525545"/>
            <a:ext cx="3396218" cy="1717098"/>
          </a:xfrm>
          <a:prstGeom prst="rect">
            <a:avLst/>
          </a:prstGeom>
          <a:gradFill>
            <a:gsLst>
              <a:gs pos="100000">
                <a:schemeClr val="bg1">
                  <a:lumMod val="60000"/>
                  <a:lumOff val="40000"/>
                  <a:alpha val="0"/>
                </a:schemeClr>
              </a:gs>
              <a:gs pos="33000">
                <a:schemeClr val="bg1">
                  <a:lumMod val="60000"/>
                  <a:lumOff val="40000"/>
                  <a:alpha val="15000"/>
                </a:schemeClr>
              </a:gs>
            </a:gsLst>
            <a:lin ang="5400000" scaled="0"/>
          </a:gradFill>
          <a:ln w="6350">
            <a:gradFill>
              <a:gsLst>
                <a:gs pos="0">
                  <a:schemeClr val="bg1">
                    <a:lumMod val="40000"/>
                    <a:lumOff val="60000"/>
                  </a:schemeClr>
                </a:gs>
                <a:gs pos="100000">
                  <a:schemeClr val="bg1">
                    <a:lumMod val="40000"/>
                    <a:lumOff val="60000"/>
                    <a:alpha val="0"/>
                  </a:schemeClr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defTabSz="914477">
              <a:lnSpc>
                <a:spcPct val="120000"/>
              </a:lnSpc>
            </a:pPr>
            <a:endParaRPr kumimoji="1" lang="zh-CN" altLang="en-US" sz="1200" dirty="0">
              <a:solidFill>
                <a:srgbClr val="FFFFFF"/>
              </a:solidFill>
              <a:latin typeface="微软雅黑" panose="020B0503020204020204" pitchFamily="34" charset="-122"/>
            </a:endParaRP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6F70C5EB-6BF7-46B1-8A32-EF28DC871D60}"/>
              </a:ext>
            </a:extLst>
          </p:cNvPr>
          <p:cNvSpPr/>
          <p:nvPr/>
        </p:nvSpPr>
        <p:spPr>
          <a:xfrm flipH="1">
            <a:off x="8072717" y="3525545"/>
            <a:ext cx="3396218" cy="1717098"/>
          </a:xfrm>
          <a:prstGeom prst="rect">
            <a:avLst/>
          </a:prstGeom>
          <a:gradFill>
            <a:gsLst>
              <a:gs pos="100000">
                <a:schemeClr val="bg1">
                  <a:lumMod val="60000"/>
                  <a:lumOff val="40000"/>
                  <a:alpha val="0"/>
                </a:schemeClr>
              </a:gs>
              <a:gs pos="33000">
                <a:schemeClr val="bg1">
                  <a:lumMod val="60000"/>
                  <a:lumOff val="40000"/>
                  <a:alpha val="15000"/>
                </a:schemeClr>
              </a:gs>
            </a:gsLst>
            <a:lin ang="5400000" scaled="0"/>
          </a:gradFill>
          <a:ln w="6350">
            <a:gradFill>
              <a:gsLst>
                <a:gs pos="0">
                  <a:schemeClr val="bg1">
                    <a:lumMod val="40000"/>
                    <a:lumOff val="60000"/>
                  </a:schemeClr>
                </a:gs>
                <a:gs pos="100000">
                  <a:schemeClr val="bg1">
                    <a:lumMod val="40000"/>
                    <a:lumOff val="60000"/>
                    <a:alpha val="0"/>
                  </a:schemeClr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defTabSz="914477">
              <a:lnSpc>
                <a:spcPct val="120000"/>
              </a:lnSpc>
            </a:pPr>
            <a:endParaRPr kumimoji="1" lang="zh-CN" altLang="en-US" sz="1200" dirty="0">
              <a:solidFill>
                <a:srgbClr val="FFFFFF"/>
              </a:solidFill>
              <a:latin typeface="微软雅黑" panose="020B0503020204020204" pitchFamily="34" charset="-122"/>
            </a:endParaRPr>
          </a:p>
        </p:txBody>
      </p:sp>
      <p:sp>
        <p:nvSpPr>
          <p:cNvPr id="35" name="矩形 3">
            <a:extLst>
              <a:ext uri="{FF2B5EF4-FFF2-40B4-BE49-F238E27FC236}">
                <a16:creationId xmlns:a16="http://schemas.microsoft.com/office/drawing/2014/main" id="{BFB8ACE4-4BDB-47CB-BF08-8FF6D5B3181A}"/>
              </a:ext>
            </a:extLst>
          </p:cNvPr>
          <p:cNvSpPr/>
          <p:nvPr/>
        </p:nvSpPr>
        <p:spPr>
          <a:xfrm flipH="1">
            <a:off x="7217037" y="3136766"/>
            <a:ext cx="4238363" cy="384746"/>
          </a:xfrm>
          <a:prstGeom prst="flowChartInputOutput">
            <a:avLst/>
          </a:prstGeom>
          <a:gradFill>
            <a:gsLst>
              <a:gs pos="0">
                <a:srgbClr val="666666">
                  <a:lumMod val="40000"/>
                  <a:lumOff val="60000"/>
                  <a:alpha val="27000"/>
                </a:srgbClr>
              </a:gs>
              <a:gs pos="67000">
                <a:srgbClr val="666666">
                  <a:lumMod val="40000"/>
                  <a:lumOff val="60000"/>
                  <a:alpha val="0"/>
                </a:srgbClr>
              </a:gs>
            </a:gsLst>
            <a:lin ang="16200000" scaled="1"/>
          </a:gradFill>
          <a:ln w="6350" cap="flat" cmpd="sng" algn="ctr">
            <a:gradFill flip="none" rotWithShape="1">
              <a:gsLst>
                <a:gs pos="0">
                  <a:srgbClr val="666666">
                    <a:lumMod val="40000"/>
                    <a:lumOff val="60000"/>
                  </a:srgbClr>
                </a:gs>
                <a:gs pos="71000">
                  <a:srgbClr val="666666">
                    <a:lumMod val="40000"/>
                    <a:lumOff val="60000"/>
                    <a:alpha val="0"/>
                  </a:srgbClr>
                </a:gs>
              </a:gsLst>
              <a:lin ang="16200000" scaled="1"/>
              <a:tileRect/>
            </a:gradFill>
            <a:prstDash val="solid"/>
            <a:miter lim="800000"/>
          </a:ln>
          <a:effectLst>
            <a:outerShdw blurRad="50800" dist="38100" dir="5400000" sx="99000" sy="99000" algn="ctr" rotWithShape="0">
              <a:srgbClr val="000000">
                <a:alpha val="10000"/>
              </a:srgbClr>
            </a:outerShdw>
          </a:effectLst>
        </p:spPr>
        <p:txBody>
          <a:bodyPr lIns="108008" tIns="45724" rIns="91447" bIns="45724" anchor="ctr">
            <a:noAutofit/>
          </a:bodyPr>
          <a:lstStyle/>
          <a:p>
            <a:pPr defTabSz="1219540" fontAlgn="ctr"/>
            <a:endParaRPr lang="zh-CN" altLang="en-US" sz="1100" b="1" kern="0">
              <a:solidFill>
                <a:prstClr val="black">
                  <a:lumMod val="75000"/>
                  <a:lumOff val="25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261FAAD5-FE02-495C-A9A8-8E9F2ED126B4}"/>
              </a:ext>
            </a:extLst>
          </p:cNvPr>
          <p:cNvSpPr/>
          <p:nvPr/>
        </p:nvSpPr>
        <p:spPr>
          <a:xfrm>
            <a:off x="1261757" y="3900514"/>
            <a:ext cx="2308324" cy="87716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ctr" defTabSz="342723" eaLnBrk="0" fontAlgn="ctr" hangingPunct="0">
              <a:lnSpc>
                <a:spcPct val="150000"/>
              </a:lnSpc>
              <a:buSzPct val="100000"/>
              <a:defRPr/>
            </a:pPr>
            <a:r>
              <a:rPr lang="en-US" altLang="zh-CN" b="1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Universum</a:t>
            </a:r>
          </a:p>
          <a:p>
            <a:pPr algn="ctr" defTabSz="342723" eaLnBrk="0" fontAlgn="ctr" hangingPunct="0">
              <a:lnSpc>
                <a:spcPct val="150000"/>
              </a:lnSpc>
              <a:buSzPct val="100000"/>
              <a:defRPr/>
            </a:pPr>
            <a:r>
              <a:rPr lang="zh-CN" altLang="en-US" sz="2000" dirty="0">
                <a:solidFill>
                  <a:srgbClr val="C00000"/>
                </a:solidFill>
                <a:latin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全球最具吸引力雇主</a:t>
            </a:r>
            <a:endParaRPr lang="en-US" altLang="zh-CN" sz="2000" dirty="0">
              <a:solidFill>
                <a:srgbClr val="C00000"/>
              </a:solidFill>
              <a:latin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5129166" y="3954888"/>
            <a:ext cx="1928413" cy="8227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 defTabSz="914112">
              <a:lnSpc>
                <a:spcPct val="150000"/>
              </a:lnSpc>
            </a:pPr>
            <a:r>
              <a:rPr lang="en-US" altLang="zh-CN" b="1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+mn-ea"/>
              </a:rPr>
              <a:t>Forbes</a:t>
            </a:r>
          </a:p>
          <a:p>
            <a:pPr algn="ctr" defTabSz="914112">
              <a:lnSpc>
                <a:spcPct val="150000"/>
              </a:lnSpc>
            </a:pPr>
            <a:r>
              <a:rPr lang="zh-CN" altLang="en-US" sz="2000" dirty="0">
                <a:solidFill>
                  <a:srgbClr val="C00000"/>
                </a:solidFill>
                <a:latin typeface="微软雅黑" panose="020B0503020204020204" pitchFamily="34" charset="-122"/>
                <a:cs typeface="+mn-ea"/>
              </a:rPr>
              <a:t>全球最佳雇主 </a:t>
            </a:r>
            <a:r>
              <a:rPr lang="en-US" altLang="zh-CN" sz="2000" dirty="0">
                <a:solidFill>
                  <a:srgbClr val="C00000"/>
                </a:solidFill>
                <a:latin typeface="微软雅黑" panose="020B0503020204020204" pitchFamily="34" charset="-122"/>
                <a:cs typeface="+mn-ea"/>
              </a:rPr>
              <a:t>#8</a:t>
            </a:r>
            <a:endParaRPr lang="zh-CN" altLang="en-US" sz="2000" dirty="0">
              <a:solidFill>
                <a:srgbClr val="C00000"/>
              </a:solidFill>
              <a:latin typeface="微软雅黑" panose="020B0503020204020204" pitchFamily="34" charset="-122"/>
              <a:cs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8450272" y="3900514"/>
            <a:ext cx="2641108" cy="877163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pPr algn="ctr" defTabSz="342723" eaLnBrk="0" fontAlgn="ctr" hangingPunct="0">
              <a:lnSpc>
                <a:spcPct val="150000"/>
              </a:lnSpc>
              <a:buSzPct val="100000"/>
            </a:pPr>
            <a:r>
              <a:rPr lang="en-US" altLang="zh-CN" b="1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+mn-ea"/>
              </a:rPr>
              <a:t>Top Employer Institute</a:t>
            </a:r>
          </a:p>
          <a:p>
            <a:pPr algn="ctr" defTabSz="914112" fontAlgn="ctr">
              <a:lnSpc>
                <a:spcPct val="150000"/>
              </a:lnSpc>
              <a:buSzPct val="100000"/>
            </a:pPr>
            <a:r>
              <a:rPr lang="zh-CN" altLang="en-US" sz="2000" dirty="0">
                <a:solidFill>
                  <a:srgbClr val="C00000"/>
                </a:solidFill>
                <a:latin typeface="微软雅黑" panose="020B0503020204020204" pitchFamily="34" charset="-122"/>
                <a:cs typeface="+mn-ea"/>
              </a:rPr>
              <a:t>杰出雇主</a:t>
            </a: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1891C81A-95BC-435D-BCA2-4B450AEA5036}"/>
              </a:ext>
            </a:extLst>
          </p:cNvPr>
          <p:cNvSpPr/>
          <p:nvPr/>
        </p:nvSpPr>
        <p:spPr>
          <a:xfrm>
            <a:off x="5731735" y="5331727"/>
            <a:ext cx="7232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kern="0" dirty="0">
                <a:solidFill>
                  <a:srgbClr val="DDDDDD">
                    <a:lumMod val="25000"/>
                  </a:srgbClr>
                </a:solidFill>
                <a:latin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2021</a:t>
            </a:r>
            <a:endParaRPr lang="zh-CN" altLang="en-US" dirty="0">
              <a:solidFill>
                <a:srgbClr val="DDDDDD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59647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4148487" y="1617044"/>
            <a:ext cx="4081113" cy="4235116"/>
          </a:xfrm>
          <a:prstGeom prst="rect">
            <a:avLst/>
          </a:prstGeom>
          <a:gradFill flip="none" rotWithShape="1">
            <a:gsLst>
              <a:gs pos="38000">
                <a:srgbClr val="666666">
                  <a:lumMod val="60000"/>
                  <a:lumOff val="40000"/>
                  <a:alpha val="0"/>
                </a:srgbClr>
              </a:gs>
              <a:gs pos="100000">
                <a:srgbClr val="666666">
                  <a:lumMod val="60000"/>
                  <a:lumOff val="40000"/>
                  <a:alpha val="10000"/>
                </a:srgbClr>
              </a:gs>
            </a:gsLst>
            <a:path path="shape">
              <a:fillToRect l="50000" t="50000" r="50000" b="50000"/>
            </a:path>
            <a:tileRect/>
          </a:gra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0" tIns="0" rIns="0" bIns="0" anchor="ctr" anchorCtr="1"/>
          <a:lstStyle/>
          <a:p>
            <a:pPr algn="ctr" defTabSz="914355"/>
            <a:endParaRPr lang="zh-CN" altLang="en-US" sz="1200" b="1" kern="0" spc="50">
              <a:solidFill>
                <a:sysClr val="windowText" lastClr="000000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1924FF9C-B529-4CA0-AE91-CFDCEB69C4CB}"/>
              </a:ext>
            </a:extLst>
          </p:cNvPr>
          <p:cNvSpPr/>
          <p:nvPr/>
        </p:nvSpPr>
        <p:spPr>
          <a:xfrm>
            <a:off x="4791762" y="4361958"/>
            <a:ext cx="2618822" cy="6832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851" eaLnBrk="0" fontAlgn="ctr" hangingPunct="0">
              <a:lnSpc>
                <a:spcPct val="120000"/>
              </a:lnSpc>
              <a:buSzPct val="100000"/>
            </a:pPr>
            <a:r>
              <a:rPr lang="en-US" altLang="zh-CN" sz="1600" kern="0" dirty="0" err="1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BrandZ</a:t>
            </a:r>
            <a:endParaRPr lang="en-US" altLang="zh-CN" sz="1600" kern="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algn="ctr" defTabSz="913851" eaLnBrk="0" fontAlgn="ctr" hangingPunct="0">
              <a:lnSpc>
                <a:spcPct val="120000"/>
              </a:lnSpc>
              <a:buSzPct val="100000"/>
            </a:pPr>
            <a:r>
              <a:rPr lang="zh-CN" altLang="en-US" sz="1600" kern="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全球品牌价值</a:t>
            </a:r>
            <a:r>
              <a:rPr lang="en-US" altLang="zh-CN" sz="1600" kern="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100</a:t>
            </a:r>
            <a:r>
              <a:rPr lang="zh-CN" altLang="en-US" sz="1600" kern="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强</a:t>
            </a:r>
            <a:endParaRPr lang="en-US" altLang="zh-CN" sz="1600" kern="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4788177" y="1858179"/>
            <a:ext cx="2625992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3851" eaLnBrk="0" fontAlgn="ctr" hangingPunct="0">
              <a:lnSpc>
                <a:spcPct val="120000"/>
              </a:lnSpc>
              <a:buSzPct val="100000"/>
            </a:pPr>
            <a:r>
              <a:rPr lang="en-US" altLang="zh-CN" sz="60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50</a:t>
            </a:r>
          </a:p>
        </p:txBody>
      </p:sp>
      <p:sp>
        <p:nvSpPr>
          <p:cNvPr id="21" name="矩形 20"/>
          <p:cNvSpPr/>
          <p:nvPr/>
        </p:nvSpPr>
        <p:spPr>
          <a:xfrm>
            <a:off x="4791762" y="3415786"/>
            <a:ext cx="2618822" cy="77559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defTabSz="913851" eaLnBrk="0" fontAlgn="ctr" hangingPunct="0">
              <a:lnSpc>
                <a:spcPct val="120000"/>
              </a:lnSpc>
              <a:buSzPct val="100000"/>
              <a:defRPr/>
            </a:pPr>
            <a:r>
              <a:rPr lang="en-US" altLang="zh-CN" kern="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2021</a:t>
            </a:r>
            <a:r>
              <a:rPr lang="zh-CN" altLang="en-US" kern="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年</a:t>
            </a:r>
            <a:endParaRPr lang="en-US" altLang="zh-CN" sz="24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algn="ctr" defTabSz="913851" eaLnBrk="0" fontAlgn="ctr" hangingPunct="0">
              <a:lnSpc>
                <a:spcPct val="120000"/>
              </a:lnSpc>
              <a:buSzPct val="100000"/>
              <a:defRPr/>
            </a:pPr>
            <a:endParaRPr lang="zh-CN" altLang="en-US" sz="2400" kern="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8875286" y="4361958"/>
            <a:ext cx="2648916" cy="6832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851" eaLnBrk="0" fontAlgn="ctr" hangingPunct="0">
              <a:lnSpc>
                <a:spcPct val="120000"/>
              </a:lnSpc>
              <a:buSzPct val="100000"/>
              <a:defRPr/>
            </a:pPr>
            <a:r>
              <a:rPr lang="en-US" altLang="zh-CN" sz="1600" kern="0" dirty="0" err="1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Interbrand</a:t>
            </a:r>
            <a:endParaRPr lang="en-US" altLang="zh-CN" sz="1600" kern="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algn="ctr" defTabSz="913851" eaLnBrk="0" fontAlgn="ctr" hangingPunct="0">
              <a:lnSpc>
                <a:spcPct val="120000"/>
              </a:lnSpc>
              <a:buSzPct val="100000"/>
              <a:defRPr/>
            </a:pPr>
            <a:r>
              <a:rPr lang="zh-CN" altLang="en-US" sz="1600" kern="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全球最具价值品牌</a:t>
            </a:r>
            <a:r>
              <a:rPr lang="en-US" altLang="zh-CN" sz="1600" kern="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100</a:t>
            </a:r>
            <a:r>
              <a:rPr lang="zh-CN" altLang="en-US" sz="1600" kern="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强</a:t>
            </a:r>
            <a:endParaRPr lang="zh-CN" altLang="en-US" sz="2000" kern="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8875286" y="1858179"/>
            <a:ext cx="2648916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3851" eaLnBrk="0" fontAlgn="ctr" hangingPunct="0">
              <a:lnSpc>
                <a:spcPct val="120000"/>
              </a:lnSpc>
              <a:buSzPct val="100000"/>
            </a:pPr>
            <a:r>
              <a:rPr lang="en-US" altLang="zh-CN" sz="60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85</a:t>
            </a:r>
          </a:p>
        </p:txBody>
      </p:sp>
      <p:sp>
        <p:nvSpPr>
          <p:cNvPr id="22" name="矩形 21"/>
          <p:cNvSpPr/>
          <p:nvPr/>
        </p:nvSpPr>
        <p:spPr>
          <a:xfrm>
            <a:off x="8890333" y="3415786"/>
            <a:ext cx="2618822" cy="77559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defTabSz="913851" eaLnBrk="0" fontAlgn="ctr" hangingPunct="0">
              <a:lnSpc>
                <a:spcPct val="120000"/>
              </a:lnSpc>
              <a:buSzPct val="100000"/>
              <a:defRPr/>
            </a:pPr>
            <a:r>
              <a:rPr lang="en-US" altLang="zh-CN" kern="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2021</a:t>
            </a:r>
            <a:r>
              <a:rPr lang="zh-CN" altLang="en-US" kern="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年</a:t>
            </a:r>
            <a:endParaRPr lang="en-US" altLang="zh-CN" sz="24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algn="ctr" defTabSz="913851" eaLnBrk="0" fontAlgn="ctr" hangingPunct="0">
              <a:lnSpc>
                <a:spcPct val="120000"/>
              </a:lnSpc>
              <a:buSzPct val="100000"/>
              <a:defRPr/>
            </a:pPr>
            <a:endParaRPr lang="zh-CN" altLang="en-US" sz="2400" kern="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1924FF9C-B529-4CA0-AE91-CFDCEB69C4CB}"/>
              </a:ext>
            </a:extLst>
          </p:cNvPr>
          <p:cNvSpPr/>
          <p:nvPr/>
        </p:nvSpPr>
        <p:spPr>
          <a:xfrm>
            <a:off x="697606" y="4361958"/>
            <a:ext cx="2571476" cy="6832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851" eaLnBrk="0" fontAlgn="ctr" hangingPunct="0">
              <a:lnSpc>
                <a:spcPct val="120000"/>
              </a:lnSpc>
              <a:buSzPct val="100000"/>
            </a:pPr>
            <a:r>
              <a:rPr lang="en-US" altLang="zh-CN" sz="1600" kern="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Brand Finance</a:t>
            </a:r>
          </a:p>
          <a:p>
            <a:pPr algn="ctr" defTabSz="913851" eaLnBrk="0" fontAlgn="ctr" hangingPunct="0">
              <a:lnSpc>
                <a:spcPct val="120000"/>
              </a:lnSpc>
              <a:buSzPct val="100000"/>
            </a:pPr>
            <a:r>
              <a:rPr lang="zh-CN" altLang="en-US" sz="1600" kern="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全球品牌价值</a:t>
            </a:r>
            <a:r>
              <a:rPr lang="en-US" altLang="zh-CN" sz="1600" kern="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500</a:t>
            </a:r>
            <a:r>
              <a:rPr lang="zh-CN" altLang="en-US" sz="1600" kern="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强</a:t>
            </a:r>
            <a:endParaRPr lang="en-US" altLang="zh-CN" sz="1600" kern="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701192" y="1858179"/>
            <a:ext cx="2564305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3851" eaLnBrk="0" fontAlgn="ctr" hangingPunct="0">
              <a:lnSpc>
                <a:spcPct val="120000"/>
              </a:lnSpc>
              <a:buSzPct val="100000"/>
            </a:pPr>
            <a:r>
              <a:rPr lang="en-US" altLang="zh-CN" sz="60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9</a:t>
            </a:r>
          </a:p>
        </p:txBody>
      </p:sp>
      <p:sp>
        <p:nvSpPr>
          <p:cNvPr id="20" name="矩形 19"/>
          <p:cNvSpPr/>
          <p:nvPr/>
        </p:nvSpPr>
        <p:spPr>
          <a:xfrm>
            <a:off x="673933" y="3415786"/>
            <a:ext cx="2618822" cy="77559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 defTabSz="913851" eaLnBrk="0" fontAlgn="ctr" hangingPunct="0">
              <a:lnSpc>
                <a:spcPct val="120000"/>
              </a:lnSpc>
              <a:buSzPct val="100000"/>
              <a:defRPr/>
            </a:pPr>
            <a:r>
              <a:rPr lang="en-US" altLang="zh-CN" kern="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2022</a:t>
            </a:r>
            <a:r>
              <a:rPr lang="zh-CN" altLang="en-US" kern="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年</a:t>
            </a:r>
            <a:endParaRPr lang="en-US" altLang="zh-CN" sz="24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algn="ctr" defTabSz="913851" eaLnBrk="0" fontAlgn="ctr" hangingPunct="0">
              <a:lnSpc>
                <a:spcPct val="120000"/>
              </a:lnSpc>
              <a:buSzPct val="100000"/>
              <a:defRPr/>
            </a:pPr>
            <a:endParaRPr lang="zh-CN" altLang="en-US" sz="2400" kern="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19" name="副标题 1">
            <a:extLst>
              <a:ext uri="{FF2B5EF4-FFF2-40B4-BE49-F238E27FC236}">
                <a16:creationId xmlns:a16="http://schemas.microsoft.com/office/drawing/2014/main" id="{4DEF3555-5538-462D-A09C-B711A2E37009}"/>
              </a:ext>
            </a:extLst>
          </p:cNvPr>
          <p:cNvSpPr txBox="1">
            <a:spLocks/>
          </p:cNvSpPr>
          <p:nvPr/>
        </p:nvSpPr>
        <p:spPr>
          <a:xfrm>
            <a:off x="723900" y="447675"/>
            <a:ext cx="107315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96950" indent="-296950" algn="l" defTabSz="1187798" rtl="0" eaLnBrk="1" latinLnBrk="0" hangingPunct="1">
              <a:lnSpc>
                <a:spcPct val="90000"/>
              </a:lnSpc>
              <a:spcBef>
                <a:spcPts val="1299"/>
              </a:spcBef>
              <a:buFont typeface="Arial" panose="020B0604020202020204" pitchFamily="34" charset="0"/>
              <a:buChar char="•"/>
              <a:defRPr sz="36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90849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84748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5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78648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72547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6447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60346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54245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48144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品牌价值获得全球认可</a:t>
            </a:r>
          </a:p>
        </p:txBody>
      </p:sp>
      <p:cxnSp>
        <p:nvCxnSpPr>
          <p:cNvPr id="426" name="直接连接符 425">
            <a:extLst>
              <a:ext uri="{FF2B5EF4-FFF2-40B4-BE49-F238E27FC236}">
                <a16:creationId xmlns:a16="http://schemas.microsoft.com/office/drawing/2014/main" id="{01933433-C862-492B-B240-6E837F633433}"/>
              </a:ext>
            </a:extLst>
          </p:cNvPr>
          <p:cNvCxnSpPr>
            <a:cxnSpLocks/>
          </p:cNvCxnSpPr>
          <p:nvPr/>
        </p:nvCxnSpPr>
        <p:spPr>
          <a:xfrm>
            <a:off x="1758554" y="2966175"/>
            <a:ext cx="44958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7" name="直接连接符 426">
            <a:extLst>
              <a:ext uri="{FF2B5EF4-FFF2-40B4-BE49-F238E27FC236}">
                <a16:creationId xmlns:a16="http://schemas.microsoft.com/office/drawing/2014/main" id="{E4BCAE5B-357B-432F-BBAB-C325EF351EC9}"/>
              </a:ext>
            </a:extLst>
          </p:cNvPr>
          <p:cNvCxnSpPr>
            <a:cxnSpLocks/>
          </p:cNvCxnSpPr>
          <p:nvPr/>
        </p:nvCxnSpPr>
        <p:spPr>
          <a:xfrm>
            <a:off x="5876383" y="2966175"/>
            <a:ext cx="44958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8" name="直接连接符 427">
            <a:extLst>
              <a:ext uri="{FF2B5EF4-FFF2-40B4-BE49-F238E27FC236}">
                <a16:creationId xmlns:a16="http://schemas.microsoft.com/office/drawing/2014/main" id="{CDB3D6DF-40CA-4C23-B27E-DC2CBEB8B57A}"/>
              </a:ext>
            </a:extLst>
          </p:cNvPr>
          <p:cNvCxnSpPr>
            <a:cxnSpLocks/>
          </p:cNvCxnSpPr>
          <p:nvPr/>
        </p:nvCxnSpPr>
        <p:spPr>
          <a:xfrm>
            <a:off x="9974954" y="2966175"/>
            <a:ext cx="44958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478394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矩形 36">
            <a:extLst>
              <a:ext uri="{FF2B5EF4-FFF2-40B4-BE49-F238E27FC236}">
                <a16:creationId xmlns:a16="http://schemas.microsoft.com/office/drawing/2014/main" id="{4AE95CE8-B08E-4D62-BA68-8132B8C9D486}"/>
              </a:ext>
            </a:extLst>
          </p:cNvPr>
          <p:cNvSpPr/>
          <p:nvPr/>
        </p:nvSpPr>
        <p:spPr>
          <a:xfrm>
            <a:off x="6563671" y="1170134"/>
            <a:ext cx="4883504" cy="467418"/>
          </a:xfrm>
          <a:prstGeom prst="rect">
            <a:avLst/>
          </a:prstGeom>
          <a:gradFill flip="none" rotWithShape="1">
            <a:gsLst>
              <a:gs pos="40000">
                <a:srgbClr val="666666">
                  <a:lumMod val="60000"/>
                  <a:lumOff val="40000"/>
                  <a:alpha val="0"/>
                </a:srgbClr>
              </a:gs>
              <a:gs pos="95000">
                <a:srgbClr val="666666">
                  <a:lumMod val="60000"/>
                  <a:lumOff val="40000"/>
                  <a:alpha val="20000"/>
                </a:srgb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gradFill flip="none" rotWithShape="1">
              <a:gsLst>
                <a:gs pos="50000">
                  <a:srgbClr val="FFFFFF">
                    <a:alpha val="10000"/>
                  </a:srgbClr>
                </a:gs>
                <a:gs pos="90000">
                  <a:srgbClr val="666666">
                    <a:lumMod val="60000"/>
                    <a:lumOff val="40000"/>
                    <a:alpha val="0"/>
                  </a:srgbClr>
                </a:gs>
                <a:gs pos="10000">
                  <a:srgbClr val="666666">
                    <a:lumMod val="60000"/>
                    <a:lumOff val="40000"/>
                    <a:alpha val="0"/>
                  </a:srgbClr>
                </a:gs>
                <a:gs pos="0">
                  <a:srgbClr val="666666">
                    <a:lumMod val="60000"/>
                    <a:lumOff val="40000"/>
                    <a:alpha val="80000"/>
                  </a:srgbClr>
                </a:gs>
                <a:gs pos="100000">
                  <a:srgbClr val="666666">
                    <a:lumMod val="60000"/>
                    <a:lumOff val="40000"/>
                    <a:alpha val="80000"/>
                  </a:srgbClr>
                </a:gs>
              </a:gsLst>
              <a:lin ang="0" scaled="0"/>
              <a:tileRect/>
            </a:gra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>
              <a:defRPr/>
            </a:pPr>
            <a:r>
              <a:rPr lang="zh-CN" altLang="en-US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企业核心价值观</a:t>
            </a: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F6ED97B6-52D8-4AF5-B671-C84948CA30A8}"/>
              </a:ext>
            </a:extLst>
          </p:cNvPr>
          <p:cNvSpPr/>
          <p:nvPr/>
        </p:nvSpPr>
        <p:spPr>
          <a:xfrm>
            <a:off x="6563671" y="1637552"/>
            <a:ext cx="4883504" cy="4394948"/>
          </a:xfrm>
          <a:prstGeom prst="rect">
            <a:avLst/>
          </a:prstGeom>
          <a:gradFill flip="none" rotWithShape="1">
            <a:gsLst>
              <a:gs pos="38000">
                <a:srgbClr val="666666">
                  <a:lumMod val="60000"/>
                  <a:lumOff val="40000"/>
                  <a:alpha val="0"/>
                </a:srgbClr>
              </a:gs>
              <a:gs pos="100000">
                <a:srgbClr val="666666">
                  <a:lumMod val="60000"/>
                  <a:lumOff val="40000"/>
                  <a:alpha val="10000"/>
                </a:srgbClr>
              </a:gs>
            </a:gsLst>
            <a:path path="shape">
              <a:fillToRect l="50000" t="50000" r="50000" b="50000"/>
            </a:path>
            <a:tileRect/>
          </a:gradFill>
          <a:ln w="6350" cap="flat" cmpd="sng" algn="ctr">
            <a:gradFill flip="none" rotWithShape="1">
              <a:gsLst>
                <a:gs pos="0">
                  <a:srgbClr val="666666">
                    <a:lumMod val="60000"/>
                    <a:lumOff val="40000"/>
                    <a:alpha val="80000"/>
                  </a:srgbClr>
                </a:gs>
                <a:gs pos="100000">
                  <a:srgbClr val="666666">
                    <a:lumMod val="60000"/>
                    <a:lumOff val="40000"/>
                    <a:alpha val="40000"/>
                  </a:srgbClr>
                </a:gs>
              </a:gsLst>
              <a:lin ang="0" scaled="0"/>
              <a:tileRect/>
            </a:gra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0" tIns="0" rIns="0" bIns="0" anchor="ctr" anchorCtr="1"/>
          <a:lstStyle/>
          <a:p>
            <a:pPr algn="ctr" defTabSz="914355"/>
            <a:endParaRPr lang="zh-CN" altLang="en-US" sz="1200" b="1" kern="0" spc="50">
              <a:solidFill>
                <a:sysClr val="windowText" lastClr="000000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D7B0514-4060-0E4B-809B-B1B2E3258AB4}"/>
              </a:ext>
            </a:extLst>
          </p:cNvPr>
          <p:cNvSpPr txBox="1">
            <a:spLocks/>
          </p:cNvSpPr>
          <p:nvPr/>
        </p:nvSpPr>
        <p:spPr>
          <a:xfrm>
            <a:off x="520093" y="1379439"/>
            <a:ext cx="10733557" cy="4690459"/>
          </a:xfrm>
          <a:prstGeom prst="rect">
            <a:avLst/>
          </a:prstGeom>
        </p:spPr>
        <p:txBody>
          <a:bodyPr lIns="0" tIns="0" rIns="0" bIns="0"/>
          <a:lstStyle>
            <a:lvl1pPr marL="12373" indent="0" algn="l" defTabSz="1187798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8420" algn="ctr"/>
              </a:tabLst>
              <a:defRPr sz="1800" kern="1200" baseline="0">
                <a:solidFill>
                  <a:srgbClr val="575756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850" indent="-171159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tabLst>
                <a:tab pos="1208420" algn="ctr"/>
              </a:tabLst>
              <a:defRPr sz="1299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25850" indent="-171159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tabLst>
                <a:tab pos="1208420" algn="ctr"/>
              </a:tabLst>
              <a:defRPr sz="1299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25850" indent="-171159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tabLst>
                <a:tab pos="1208420" algn="ctr"/>
              </a:tabLst>
              <a:defRPr sz="1299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25850" indent="-171159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tabLst>
                <a:tab pos="1208420" algn="ctr"/>
              </a:tabLst>
              <a:defRPr sz="1299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6447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60346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54245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48144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  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6791340" y="1879010"/>
            <a:ext cx="4443483" cy="3912033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zh-CN" altLang="zh-CN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以客户为中心</a:t>
            </a:r>
          </a:p>
          <a:p>
            <a:pPr algn="ctr">
              <a:lnSpc>
                <a:spcPts val="2000"/>
              </a:lnSpc>
            </a:pPr>
            <a:r>
              <a:rPr lang="zh-CN" altLang="zh-CN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创造客户价值是守护公司价值的必由之路，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algn="ctr">
              <a:lnSpc>
                <a:spcPts val="2000"/>
              </a:lnSpc>
            </a:pPr>
            <a:r>
              <a:rPr lang="zh-CN" altLang="zh-CN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我们通过成就客户，来成就自己</a:t>
            </a:r>
          </a:p>
          <a:p>
            <a:pPr algn="ctr">
              <a:lnSpc>
                <a:spcPts val="2000"/>
              </a:lnSpc>
            </a:pPr>
            <a:r>
              <a:rPr lang="en-US" altLang="zh-CN" sz="1600" dirty="0">
                <a:solidFill>
                  <a:srgbClr val="666666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 </a:t>
            </a:r>
            <a:endParaRPr lang="zh-CN" altLang="zh-CN" sz="1600" dirty="0">
              <a:solidFill>
                <a:srgbClr val="666666">
                  <a:lumMod val="50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algn="ctr">
              <a:lnSpc>
                <a:spcPts val="2000"/>
              </a:lnSpc>
            </a:pPr>
            <a:r>
              <a:rPr lang="zh-CN" altLang="zh-CN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以奋斗者为本</a:t>
            </a:r>
          </a:p>
          <a:p>
            <a:pPr algn="ctr">
              <a:lnSpc>
                <a:spcPts val="2000"/>
              </a:lnSpc>
            </a:pPr>
            <a:r>
              <a:rPr lang="zh-CN" altLang="zh-CN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用科学合理的价值评价与分配系统，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algn="ctr">
              <a:lnSpc>
                <a:spcPts val="2000"/>
              </a:lnSpc>
            </a:pPr>
            <a:r>
              <a:rPr lang="zh-CN" altLang="zh-CN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激发全体员工全力开展价值创造</a:t>
            </a:r>
          </a:p>
          <a:p>
            <a:pPr algn="ctr">
              <a:lnSpc>
                <a:spcPts val="2000"/>
              </a:lnSpc>
            </a:pPr>
            <a:r>
              <a:rPr lang="en-US" altLang="zh-CN" sz="16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 </a:t>
            </a:r>
            <a:endParaRPr lang="zh-CN" altLang="zh-CN" sz="16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algn="ctr">
              <a:lnSpc>
                <a:spcPts val="2000"/>
              </a:lnSpc>
            </a:pPr>
            <a:r>
              <a:rPr lang="zh-CN" altLang="zh-CN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长期艰苦奋斗</a:t>
            </a:r>
          </a:p>
          <a:p>
            <a:pPr algn="ctr">
              <a:lnSpc>
                <a:spcPts val="2000"/>
              </a:lnSpc>
            </a:pPr>
            <a:r>
              <a:rPr lang="zh-CN" altLang="en-US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客户需求在升级，产业在不断演进，</a:t>
            </a:r>
            <a:r>
              <a:rPr lang="zh-CN" altLang="zh-CN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能不能长期坚持艰苦奋斗，决定了公司能不能持久的活下去</a:t>
            </a:r>
          </a:p>
          <a:p>
            <a:pPr algn="ctr">
              <a:lnSpc>
                <a:spcPts val="2000"/>
              </a:lnSpc>
            </a:pPr>
            <a:endParaRPr lang="zh-CN" altLang="zh-CN" sz="16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algn="ctr">
              <a:lnSpc>
                <a:spcPts val="2000"/>
              </a:lnSpc>
            </a:pPr>
            <a:r>
              <a:rPr lang="zh-CN" altLang="zh-CN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坚持自我批判</a:t>
            </a:r>
          </a:p>
          <a:p>
            <a:pPr algn="ctr">
              <a:lnSpc>
                <a:spcPts val="2000"/>
              </a:lnSpc>
            </a:pPr>
            <a:r>
              <a:rPr lang="zh-CN" altLang="zh-CN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通过自我批判，实现不断改进，不断进步，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algn="ctr">
              <a:lnSpc>
                <a:spcPts val="2000"/>
              </a:lnSpc>
            </a:pPr>
            <a:r>
              <a:rPr lang="zh-CN" altLang="zh-CN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应对企业的外部挑战和内部堕怠</a:t>
            </a: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gray">
          <a:xfrm>
            <a:off x="444797" y="5493364"/>
            <a:ext cx="3129203" cy="6001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zh-CN" altLang="en-US" sz="1600" b="1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构建价值驱动</a:t>
            </a:r>
            <a:endParaRPr lang="en-US" altLang="zh-CN" sz="1600" b="1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marL="12700" algn="ctr">
              <a:spcBef>
                <a:spcPts val="565"/>
              </a:spcBef>
              <a:buFont typeface="Arial" panose="020B0604020202020204" pitchFamily="34" charset="0"/>
              <a:buNone/>
              <a:defRPr/>
            </a:pPr>
            <a:r>
              <a:rPr lang="zh-CN" altLang="en-US" sz="1200" spc="-5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合理的价值分配，撬动更大的价值创造</a:t>
            </a:r>
            <a:endParaRPr lang="en-US" altLang="zh-CN" sz="1200" spc="-5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25" name="Rectangle 18"/>
          <p:cNvSpPr>
            <a:spLocks noChangeArrowheads="1"/>
          </p:cNvSpPr>
          <p:nvPr/>
        </p:nvSpPr>
        <p:spPr bwMode="gray">
          <a:xfrm>
            <a:off x="3605594" y="5493364"/>
            <a:ext cx="2608901" cy="6001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zh-CN" altLang="en-US" sz="1600" b="1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持续压强投入</a:t>
            </a:r>
            <a:endParaRPr lang="en-US" altLang="zh-CN" sz="1600" b="1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marL="12700" algn="ctr">
              <a:spcBef>
                <a:spcPts val="575"/>
              </a:spcBef>
              <a:buFont typeface="Arial" panose="020B0604020202020204" pitchFamily="34" charset="0"/>
              <a:buNone/>
            </a:pPr>
            <a:r>
              <a:rPr lang="zh-CN" altLang="en-US" sz="1200" spc="-5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厚积薄发，战略投入，持续领先</a:t>
            </a:r>
            <a:endParaRPr lang="zh-CN" altLang="en-US" sz="12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D45DA03D-2DBD-46AF-B487-C3C140473A9E}"/>
              </a:ext>
            </a:extLst>
          </p:cNvPr>
          <p:cNvGrpSpPr/>
          <p:nvPr/>
        </p:nvGrpSpPr>
        <p:grpSpPr>
          <a:xfrm>
            <a:off x="1791789" y="1774817"/>
            <a:ext cx="3516296" cy="3609983"/>
            <a:chOff x="805500" y="1160528"/>
            <a:chExt cx="3970601" cy="4076392"/>
          </a:xfrm>
        </p:grpSpPr>
        <p:pic>
          <p:nvPicPr>
            <p:cNvPr id="19" name="图片 18"/>
            <p:cNvPicPr>
              <a:picLocks noChangeAspect="1"/>
            </p:cNvPicPr>
            <p:nvPr/>
          </p:nvPicPr>
          <p:blipFill>
            <a:blip r:embed="rId3" cstate="screen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-20000"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86052" y="1343503"/>
              <a:ext cx="3890049" cy="3791782"/>
            </a:xfrm>
            <a:prstGeom prst="rect">
              <a:avLst/>
            </a:prstGeom>
          </p:spPr>
        </p:pic>
        <p:sp>
          <p:nvSpPr>
            <p:cNvPr id="29" name="694220864"/>
            <p:cNvSpPr>
              <a:spLocks noChangeAspect="1" noChangeArrowheads="1"/>
            </p:cNvSpPr>
            <p:nvPr/>
          </p:nvSpPr>
          <p:spPr bwMode="auto">
            <a:xfrm>
              <a:off x="805500" y="4081111"/>
              <a:ext cx="1089412" cy="1090694"/>
            </a:xfrm>
            <a:prstGeom prst="ellipse">
              <a:avLst/>
            </a:prstGeom>
            <a:gradFill flip="none" rotWithShape="1">
              <a:gsLst>
                <a:gs pos="38000">
                  <a:schemeClr val="tx2"/>
                </a:gs>
                <a:gs pos="100000">
                  <a:schemeClr val="tx2">
                    <a:lumMod val="95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 algn="ctr">
              <a:gradFill flip="none" rotWithShape="1">
                <a:gsLst>
                  <a:gs pos="0">
                    <a:srgbClr val="666666">
                      <a:lumMod val="60000"/>
                      <a:lumOff val="40000"/>
                      <a:alpha val="80000"/>
                    </a:srgbClr>
                  </a:gs>
                  <a:gs pos="100000">
                    <a:srgbClr val="666666">
                      <a:lumMod val="60000"/>
                      <a:lumOff val="40000"/>
                      <a:alpha val="40000"/>
                    </a:srgbClr>
                  </a:gs>
                </a:gsLst>
                <a:lin ang="0" scaled="0"/>
                <a:tileRect/>
              </a:gra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square" lIns="0" tIns="0" rIns="0" bIns="0" anchor="ctr" anchorCtr="1"/>
            <a:lstStyle/>
            <a:p>
              <a:pPr lvl="4"/>
              <a:endParaRPr lang="zh-CN" altLang="en-US">
                <a:sym typeface="微软雅黑" panose="020B0503020204020204" pitchFamily="34" charset="-122"/>
              </a:endParaRPr>
            </a:p>
          </p:txBody>
        </p:sp>
        <p:sp>
          <p:nvSpPr>
            <p:cNvPr id="28" name="694220864"/>
            <p:cNvSpPr>
              <a:spLocks noChangeArrowheads="1"/>
            </p:cNvSpPr>
            <p:nvPr/>
          </p:nvSpPr>
          <p:spPr bwMode="auto">
            <a:xfrm>
              <a:off x="1976712" y="2529638"/>
              <a:ext cx="1708729" cy="1710736"/>
            </a:xfrm>
            <a:prstGeom prst="ellipse">
              <a:avLst/>
            </a:prstGeom>
            <a:gradFill flip="none" rotWithShape="1">
              <a:gsLst>
                <a:gs pos="38000">
                  <a:schemeClr val="tx2"/>
                </a:gs>
                <a:gs pos="100000">
                  <a:schemeClr val="tx2">
                    <a:lumMod val="95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 algn="ctr">
              <a:gradFill flip="none" rotWithShape="1">
                <a:gsLst>
                  <a:gs pos="0">
                    <a:srgbClr val="666666">
                      <a:lumMod val="60000"/>
                      <a:lumOff val="40000"/>
                      <a:alpha val="80000"/>
                    </a:srgbClr>
                  </a:gs>
                  <a:gs pos="100000">
                    <a:srgbClr val="666666">
                      <a:lumMod val="60000"/>
                      <a:lumOff val="40000"/>
                      <a:alpha val="40000"/>
                    </a:srgbClr>
                  </a:gs>
                </a:gsLst>
                <a:lin ang="0" scaled="0"/>
                <a:tileRect/>
              </a:gra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square" lIns="0" tIns="0" rIns="0" bIns="0" anchor="ctr" anchorCtr="1"/>
            <a:lstStyle/>
            <a:p>
              <a:pPr lvl="4"/>
              <a:endParaRPr lang="zh-CN" altLang="en-US">
                <a:sym typeface="微软雅黑" panose="020B0503020204020204" pitchFamily="34" charset="-122"/>
              </a:endParaRPr>
            </a:p>
          </p:txBody>
        </p:sp>
        <p:sp>
          <p:nvSpPr>
            <p:cNvPr id="30" name="694220864"/>
            <p:cNvSpPr>
              <a:spLocks noChangeAspect="1" noChangeArrowheads="1"/>
            </p:cNvSpPr>
            <p:nvPr/>
          </p:nvSpPr>
          <p:spPr bwMode="auto">
            <a:xfrm>
              <a:off x="2242633" y="1160528"/>
              <a:ext cx="1089412" cy="1090694"/>
            </a:xfrm>
            <a:prstGeom prst="ellipse">
              <a:avLst/>
            </a:prstGeom>
            <a:gradFill flip="none" rotWithShape="1">
              <a:gsLst>
                <a:gs pos="38000">
                  <a:schemeClr val="tx2"/>
                </a:gs>
                <a:gs pos="100000">
                  <a:schemeClr val="tx2">
                    <a:lumMod val="95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 algn="ctr">
              <a:gradFill flip="none" rotWithShape="1">
                <a:gsLst>
                  <a:gs pos="0">
                    <a:srgbClr val="666666">
                      <a:lumMod val="60000"/>
                      <a:lumOff val="40000"/>
                      <a:alpha val="80000"/>
                    </a:srgbClr>
                  </a:gs>
                  <a:gs pos="100000">
                    <a:srgbClr val="666666">
                      <a:lumMod val="60000"/>
                      <a:lumOff val="40000"/>
                      <a:alpha val="40000"/>
                    </a:srgbClr>
                  </a:gs>
                </a:gsLst>
                <a:lin ang="0" scaled="0"/>
                <a:tileRect/>
              </a:gra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square" lIns="0" tIns="0" rIns="0" bIns="0" anchor="ctr" anchorCtr="1"/>
            <a:lstStyle/>
            <a:p>
              <a:pPr lvl="4"/>
              <a:endParaRPr lang="zh-CN" altLang="en-US">
                <a:sym typeface="微软雅黑" panose="020B0503020204020204" pitchFamily="34" charset="-122"/>
              </a:endParaRPr>
            </a:p>
          </p:txBody>
        </p:sp>
        <p:sp>
          <p:nvSpPr>
            <p:cNvPr id="32" name="Freeform 33"/>
            <p:cNvSpPr>
              <a:spLocks noEditPoints="1"/>
            </p:cNvSpPr>
            <p:nvPr/>
          </p:nvSpPr>
          <p:spPr bwMode="auto">
            <a:xfrm>
              <a:off x="2583599" y="1410230"/>
              <a:ext cx="494953" cy="591291"/>
            </a:xfrm>
            <a:custGeom>
              <a:avLst/>
              <a:gdLst>
                <a:gd name="T0" fmla="*/ 0 w 545"/>
                <a:gd name="T1" fmla="*/ 2147483646 h 628"/>
                <a:gd name="T2" fmla="*/ 2147483646 w 545"/>
                <a:gd name="T3" fmla="*/ 2147483646 h 628"/>
                <a:gd name="T4" fmla="*/ 2147483646 w 545"/>
                <a:gd name="T5" fmla="*/ 2147483646 h 628"/>
                <a:gd name="T6" fmla="*/ 2147483646 w 545"/>
                <a:gd name="T7" fmla="*/ 2147483646 h 628"/>
                <a:gd name="T8" fmla="*/ 2147483646 w 545"/>
                <a:gd name="T9" fmla="*/ 2147483646 h 628"/>
                <a:gd name="T10" fmla="*/ 2147483646 w 545"/>
                <a:gd name="T11" fmla="*/ 2147483646 h 628"/>
                <a:gd name="T12" fmla="*/ 0 w 545"/>
                <a:gd name="T13" fmla="*/ 2147483646 h 628"/>
                <a:gd name="T14" fmla="*/ 2147483646 w 545"/>
                <a:gd name="T15" fmla="*/ 2147483646 h 628"/>
                <a:gd name="T16" fmla="*/ 2147483646 w 545"/>
                <a:gd name="T17" fmla="*/ 2147483646 h 628"/>
                <a:gd name="T18" fmla="*/ 2147483646 w 545"/>
                <a:gd name="T19" fmla="*/ 2147483646 h 628"/>
                <a:gd name="T20" fmla="*/ 2147483646 w 545"/>
                <a:gd name="T21" fmla="*/ 2147483646 h 628"/>
                <a:gd name="T22" fmla="*/ 2147483646 w 545"/>
                <a:gd name="T23" fmla="*/ 2147483646 h 628"/>
                <a:gd name="T24" fmla="*/ 2147483646 w 545"/>
                <a:gd name="T25" fmla="*/ 2147483646 h 628"/>
                <a:gd name="T26" fmla="*/ 2147483646 w 545"/>
                <a:gd name="T27" fmla="*/ 2147483646 h 628"/>
                <a:gd name="T28" fmla="*/ 2147483646 w 545"/>
                <a:gd name="T29" fmla="*/ 2147483646 h 628"/>
                <a:gd name="T30" fmla="*/ 2147483646 w 545"/>
                <a:gd name="T31" fmla="*/ 2147483646 h 628"/>
                <a:gd name="T32" fmla="*/ 2147483646 w 545"/>
                <a:gd name="T33" fmla="*/ 2147483646 h 628"/>
                <a:gd name="T34" fmla="*/ 2147483646 w 545"/>
                <a:gd name="T35" fmla="*/ 2147483646 h 628"/>
                <a:gd name="T36" fmla="*/ 2147483646 w 545"/>
                <a:gd name="T37" fmla="*/ 2147483646 h 628"/>
                <a:gd name="T38" fmla="*/ 2147483646 w 545"/>
                <a:gd name="T39" fmla="*/ 2147483646 h 628"/>
                <a:gd name="T40" fmla="*/ 2147483646 w 545"/>
                <a:gd name="T41" fmla="*/ 2147483646 h 628"/>
                <a:gd name="T42" fmla="*/ 2147483646 w 545"/>
                <a:gd name="T43" fmla="*/ 2147483646 h 628"/>
                <a:gd name="T44" fmla="*/ 2147483646 w 545"/>
                <a:gd name="T45" fmla="*/ 2147483646 h 628"/>
                <a:gd name="T46" fmla="*/ 2147483646 w 545"/>
                <a:gd name="T47" fmla="*/ 2147483646 h 628"/>
                <a:gd name="T48" fmla="*/ 2147483646 w 545"/>
                <a:gd name="T49" fmla="*/ 2147483646 h 628"/>
                <a:gd name="T50" fmla="*/ 2147483646 w 545"/>
                <a:gd name="T51" fmla="*/ 2147483646 h 628"/>
                <a:gd name="T52" fmla="*/ 2147483646 w 545"/>
                <a:gd name="T53" fmla="*/ 2147483646 h 628"/>
                <a:gd name="T54" fmla="*/ 2147483646 w 545"/>
                <a:gd name="T55" fmla="*/ 2147483646 h 628"/>
                <a:gd name="T56" fmla="*/ 2147483646 w 545"/>
                <a:gd name="T57" fmla="*/ 2147483646 h 628"/>
                <a:gd name="T58" fmla="*/ 2147483646 w 545"/>
                <a:gd name="T59" fmla="*/ 2147483646 h 628"/>
                <a:gd name="T60" fmla="*/ 2147483646 w 545"/>
                <a:gd name="T61" fmla="*/ 2147483646 h 628"/>
                <a:gd name="T62" fmla="*/ 2147483646 w 545"/>
                <a:gd name="T63" fmla="*/ 2147483646 h 628"/>
                <a:gd name="T64" fmla="*/ 2147483646 w 545"/>
                <a:gd name="T65" fmla="*/ 2147483646 h 628"/>
                <a:gd name="T66" fmla="*/ 2147483646 w 545"/>
                <a:gd name="T67" fmla="*/ 2147483646 h 628"/>
                <a:gd name="T68" fmla="*/ 2147483646 w 545"/>
                <a:gd name="T69" fmla="*/ 2147483646 h 628"/>
                <a:gd name="T70" fmla="*/ 2147483646 w 545"/>
                <a:gd name="T71" fmla="*/ 2147483646 h 628"/>
                <a:gd name="T72" fmla="*/ 2147483646 w 545"/>
                <a:gd name="T73" fmla="*/ 2147483646 h 628"/>
                <a:gd name="T74" fmla="*/ 2147483646 w 545"/>
                <a:gd name="T75" fmla="*/ 2147483646 h 628"/>
                <a:gd name="T76" fmla="*/ 2147483646 w 545"/>
                <a:gd name="T77" fmla="*/ 2147483646 h 628"/>
                <a:gd name="T78" fmla="*/ 2147483646 w 545"/>
                <a:gd name="T79" fmla="*/ 2147483646 h 628"/>
                <a:gd name="T80" fmla="*/ 2147483646 w 545"/>
                <a:gd name="T81" fmla="*/ 2147483646 h 6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45"/>
                <a:gd name="T124" fmla="*/ 0 h 628"/>
                <a:gd name="T125" fmla="*/ 545 w 545"/>
                <a:gd name="T126" fmla="*/ 628 h 62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45" h="628">
                  <a:moveTo>
                    <a:pt x="15" y="90"/>
                  </a:moveTo>
                  <a:cubicBezTo>
                    <a:pt x="7" y="90"/>
                    <a:pt x="0" y="84"/>
                    <a:pt x="0" y="76"/>
                  </a:cubicBezTo>
                  <a:cubicBezTo>
                    <a:pt x="0" y="67"/>
                    <a:pt x="7" y="61"/>
                    <a:pt x="15" y="61"/>
                  </a:cubicBezTo>
                  <a:cubicBezTo>
                    <a:pt x="149" y="61"/>
                    <a:pt x="149" y="61"/>
                    <a:pt x="149" y="61"/>
                  </a:cubicBezTo>
                  <a:cubicBezTo>
                    <a:pt x="149" y="20"/>
                    <a:pt x="149" y="20"/>
                    <a:pt x="149" y="20"/>
                  </a:cubicBezTo>
                  <a:cubicBezTo>
                    <a:pt x="149" y="7"/>
                    <a:pt x="165" y="0"/>
                    <a:pt x="174" y="9"/>
                  </a:cubicBezTo>
                  <a:cubicBezTo>
                    <a:pt x="174" y="10"/>
                    <a:pt x="174" y="10"/>
                    <a:pt x="174" y="10"/>
                  </a:cubicBezTo>
                  <a:cubicBezTo>
                    <a:pt x="263" y="98"/>
                    <a:pt x="263" y="98"/>
                    <a:pt x="263" y="98"/>
                  </a:cubicBezTo>
                  <a:cubicBezTo>
                    <a:pt x="269" y="104"/>
                    <a:pt x="269" y="113"/>
                    <a:pt x="263" y="119"/>
                  </a:cubicBezTo>
                  <a:cubicBezTo>
                    <a:pt x="174" y="208"/>
                    <a:pt x="174" y="208"/>
                    <a:pt x="174" y="208"/>
                  </a:cubicBezTo>
                  <a:cubicBezTo>
                    <a:pt x="165" y="217"/>
                    <a:pt x="149" y="210"/>
                    <a:pt x="149" y="197"/>
                  </a:cubicBezTo>
                  <a:cubicBezTo>
                    <a:pt x="149" y="157"/>
                    <a:pt x="149" y="157"/>
                    <a:pt x="149" y="157"/>
                  </a:cubicBezTo>
                  <a:cubicBezTo>
                    <a:pt x="15" y="157"/>
                    <a:pt x="15" y="157"/>
                    <a:pt x="15" y="157"/>
                  </a:cubicBezTo>
                  <a:cubicBezTo>
                    <a:pt x="7" y="157"/>
                    <a:pt x="0" y="150"/>
                    <a:pt x="0" y="142"/>
                  </a:cubicBezTo>
                  <a:cubicBezTo>
                    <a:pt x="0" y="134"/>
                    <a:pt x="7" y="127"/>
                    <a:pt x="15" y="127"/>
                  </a:cubicBezTo>
                  <a:cubicBezTo>
                    <a:pt x="163" y="127"/>
                    <a:pt x="163" y="127"/>
                    <a:pt x="163" y="127"/>
                  </a:cubicBezTo>
                  <a:cubicBezTo>
                    <a:pt x="164" y="127"/>
                    <a:pt x="164" y="127"/>
                    <a:pt x="164" y="127"/>
                  </a:cubicBezTo>
                  <a:cubicBezTo>
                    <a:pt x="172" y="127"/>
                    <a:pt x="179" y="134"/>
                    <a:pt x="179" y="142"/>
                  </a:cubicBezTo>
                  <a:cubicBezTo>
                    <a:pt x="179" y="162"/>
                    <a:pt x="179" y="162"/>
                    <a:pt x="179" y="162"/>
                  </a:cubicBezTo>
                  <a:cubicBezTo>
                    <a:pt x="232" y="109"/>
                    <a:pt x="232" y="109"/>
                    <a:pt x="232" y="109"/>
                  </a:cubicBezTo>
                  <a:cubicBezTo>
                    <a:pt x="179" y="55"/>
                    <a:pt x="179" y="55"/>
                    <a:pt x="179" y="55"/>
                  </a:cubicBezTo>
                  <a:cubicBezTo>
                    <a:pt x="179" y="75"/>
                    <a:pt x="179" y="75"/>
                    <a:pt x="179" y="75"/>
                  </a:cubicBezTo>
                  <a:cubicBezTo>
                    <a:pt x="179" y="76"/>
                    <a:pt x="179" y="76"/>
                    <a:pt x="179" y="76"/>
                  </a:cubicBezTo>
                  <a:cubicBezTo>
                    <a:pt x="179" y="84"/>
                    <a:pt x="172" y="90"/>
                    <a:pt x="164" y="90"/>
                  </a:cubicBezTo>
                  <a:cubicBezTo>
                    <a:pt x="15" y="90"/>
                    <a:pt x="15" y="90"/>
                    <a:pt x="15" y="90"/>
                  </a:cubicBezTo>
                  <a:close/>
                  <a:moveTo>
                    <a:pt x="90" y="283"/>
                  </a:moveTo>
                  <a:cubicBezTo>
                    <a:pt x="90" y="283"/>
                    <a:pt x="90" y="283"/>
                    <a:pt x="90" y="283"/>
                  </a:cubicBezTo>
                  <a:cubicBezTo>
                    <a:pt x="77" y="283"/>
                    <a:pt x="66" y="272"/>
                    <a:pt x="66" y="259"/>
                  </a:cubicBezTo>
                  <a:cubicBezTo>
                    <a:pt x="66" y="245"/>
                    <a:pt x="77" y="234"/>
                    <a:pt x="90" y="234"/>
                  </a:cubicBezTo>
                  <a:cubicBezTo>
                    <a:pt x="346" y="234"/>
                    <a:pt x="346" y="234"/>
                    <a:pt x="346" y="234"/>
                  </a:cubicBezTo>
                  <a:cubicBezTo>
                    <a:pt x="346" y="166"/>
                    <a:pt x="346" y="166"/>
                    <a:pt x="346" y="166"/>
                  </a:cubicBezTo>
                  <a:cubicBezTo>
                    <a:pt x="346" y="153"/>
                    <a:pt x="357" y="142"/>
                    <a:pt x="371" y="142"/>
                  </a:cubicBezTo>
                  <a:cubicBezTo>
                    <a:pt x="377" y="142"/>
                    <a:pt x="383" y="145"/>
                    <a:pt x="388" y="149"/>
                  </a:cubicBezTo>
                  <a:cubicBezTo>
                    <a:pt x="535" y="297"/>
                    <a:pt x="535" y="297"/>
                    <a:pt x="535" y="297"/>
                  </a:cubicBezTo>
                  <a:cubicBezTo>
                    <a:pt x="545" y="306"/>
                    <a:pt x="545" y="322"/>
                    <a:pt x="535" y="331"/>
                  </a:cubicBezTo>
                  <a:cubicBezTo>
                    <a:pt x="535" y="332"/>
                    <a:pt x="535" y="332"/>
                    <a:pt x="535" y="332"/>
                  </a:cubicBezTo>
                  <a:cubicBezTo>
                    <a:pt x="388" y="479"/>
                    <a:pt x="388" y="479"/>
                    <a:pt x="388" y="479"/>
                  </a:cubicBezTo>
                  <a:cubicBezTo>
                    <a:pt x="378" y="489"/>
                    <a:pt x="363" y="489"/>
                    <a:pt x="353" y="479"/>
                  </a:cubicBezTo>
                  <a:cubicBezTo>
                    <a:pt x="349" y="474"/>
                    <a:pt x="346" y="468"/>
                    <a:pt x="346" y="462"/>
                  </a:cubicBezTo>
                  <a:cubicBezTo>
                    <a:pt x="346" y="461"/>
                    <a:pt x="346" y="461"/>
                    <a:pt x="346" y="461"/>
                  </a:cubicBezTo>
                  <a:cubicBezTo>
                    <a:pt x="346" y="394"/>
                    <a:pt x="346" y="394"/>
                    <a:pt x="346" y="394"/>
                  </a:cubicBezTo>
                  <a:cubicBezTo>
                    <a:pt x="90" y="394"/>
                    <a:pt x="90" y="394"/>
                    <a:pt x="90" y="394"/>
                  </a:cubicBezTo>
                  <a:cubicBezTo>
                    <a:pt x="77" y="394"/>
                    <a:pt x="66" y="383"/>
                    <a:pt x="66" y="369"/>
                  </a:cubicBezTo>
                  <a:cubicBezTo>
                    <a:pt x="66" y="356"/>
                    <a:pt x="77" y="345"/>
                    <a:pt x="90" y="345"/>
                  </a:cubicBezTo>
                  <a:cubicBezTo>
                    <a:pt x="370" y="345"/>
                    <a:pt x="370" y="345"/>
                    <a:pt x="370" y="345"/>
                  </a:cubicBezTo>
                  <a:cubicBezTo>
                    <a:pt x="371" y="345"/>
                    <a:pt x="371" y="345"/>
                    <a:pt x="371" y="345"/>
                  </a:cubicBezTo>
                  <a:cubicBezTo>
                    <a:pt x="384" y="345"/>
                    <a:pt x="395" y="356"/>
                    <a:pt x="395" y="369"/>
                  </a:cubicBezTo>
                  <a:cubicBezTo>
                    <a:pt x="395" y="403"/>
                    <a:pt x="395" y="403"/>
                    <a:pt x="395" y="403"/>
                  </a:cubicBezTo>
                  <a:cubicBezTo>
                    <a:pt x="483" y="314"/>
                    <a:pt x="483" y="314"/>
                    <a:pt x="483" y="314"/>
                  </a:cubicBezTo>
                  <a:cubicBezTo>
                    <a:pt x="395" y="226"/>
                    <a:pt x="395" y="226"/>
                    <a:pt x="395" y="226"/>
                  </a:cubicBezTo>
                  <a:cubicBezTo>
                    <a:pt x="395" y="258"/>
                    <a:pt x="395" y="258"/>
                    <a:pt x="395" y="258"/>
                  </a:cubicBezTo>
                  <a:cubicBezTo>
                    <a:pt x="395" y="259"/>
                    <a:pt x="395" y="259"/>
                    <a:pt x="395" y="259"/>
                  </a:cubicBezTo>
                  <a:cubicBezTo>
                    <a:pt x="395" y="272"/>
                    <a:pt x="384" y="283"/>
                    <a:pt x="371" y="283"/>
                  </a:cubicBezTo>
                  <a:cubicBezTo>
                    <a:pt x="90" y="283"/>
                    <a:pt x="90" y="283"/>
                    <a:pt x="90" y="283"/>
                  </a:cubicBezTo>
                  <a:close/>
                  <a:moveTo>
                    <a:pt x="15" y="501"/>
                  </a:moveTo>
                  <a:cubicBezTo>
                    <a:pt x="15" y="501"/>
                    <a:pt x="15" y="501"/>
                    <a:pt x="15" y="501"/>
                  </a:cubicBezTo>
                  <a:cubicBezTo>
                    <a:pt x="7" y="501"/>
                    <a:pt x="0" y="494"/>
                    <a:pt x="0" y="486"/>
                  </a:cubicBezTo>
                  <a:cubicBezTo>
                    <a:pt x="0" y="478"/>
                    <a:pt x="7" y="472"/>
                    <a:pt x="15" y="472"/>
                  </a:cubicBezTo>
                  <a:cubicBezTo>
                    <a:pt x="149" y="472"/>
                    <a:pt x="149" y="472"/>
                    <a:pt x="149" y="472"/>
                  </a:cubicBezTo>
                  <a:cubicBezTo>
                    <a:pt x="149" y="431"/>
                    <a:pt x="149" y="431"/>
                    <a:pt x="149" y="431"/>
                  </a:cubicBezTo>
                  <a:cubicBezTo>
                    <a:pt x="149" y="418"/>
                    <a:pt x="165" y="411"/>
                    <a:pt x="174" y="420"/>
                  </a:cubicBezTo>
                  <a:cubicBezTo>
                    <a:pt x="174" y="421"/>
                    <a:pt x="174" y="421"/>
                    <a:pt x="174" y="421"/>
                  </a:cubicBezTo>
                  <a:cubicBezTo>
                    <a:pt x="263" y="509"/>
                    <a:pt x="263" y="509"/>
                    <a:pt x="263" y="509"/>
                  </a:cubicBezTo>
                  <a:cubicBezTo>
                    <a:pt x="269" y="515"/>
                    <a:pt x="269" y="524"/>
                    <a:pt x="263" y="530"/>
                  </a:cubicBezTo>
                  <a:cubicBezTo>
                    <a:pt x="262" y="531"/>
                    <a:pt x="262" y="531"/>
                    <a:pt x="262" y="531"/>
                  </a:cubicBezTo>
                  <a:cubicBezTo>
                    <a:pt x="174" y="619"/>
                    <a:pt x="174" y="619"/>
                    <a:pt x="174" y="619"/>
                  </a:cubicBezTo>
                  <a:cubicBezTo>
                    <a:pt x="165" y="628"/>
                    <a:pt x="149" y="621"/>
                    <a:pt x="149" y="608"/>
                  </a:cubicBezTo>
                  <a:cubicBezTo>
                    <a:pt x="149" y="608"/>
                    <a:pt x="149" y="608"/>
                    <a:pt x="149" y="608"/>
                  </a:cubicBezTo>
                  <a:cubicBezTo>
                    <a:pt x="149" y="567"/>
                    <a:pt x="149" y="567"/>
                    <a:pt x="149" y="567"/>
                  </a:cubicBezTo>
                  <a:cubicBezTo>
                    <a:pt x="15" y="567"/>
                    <a:pt x="15" y="567"/>
                    <a:pt x="15" y="567"/>
                  </a:cubicBezTo>
                  <a:cubicBezTo>
                    <a:pt x="7" y="567"/>
                    <a:pt x="0" y="561"/>
                    <a:pt x="0" y="553"/>
                  </a:cubicBezTo>
                  <a:cubicBezTo>
                    <a:pt x="0" y="545"/>
                    <a:pt x="7" y="538"/>
                    <a:pt x="15" y="538"/>
                  </a:cubicBezTo>
                  <a:cubicBezTo>
                    <a:pt x="163" y="538"/>
                    <a:pt x="163" y="538"/>
                    <a:pt x="163" y="538"/>
                  </a:cubicBezTo>
                  <a:cubicBezTo>
                    <a:pt x="164" y="538"/>
                    <a:pt x="164" y="538"/>
                    <a:pt x="164" y="538"/>
                  </a:cubicBezTo>
                  <a:cubicBezTo>
                    <a:pt x="172" y="538"/>
                    <a:pt x="179" y="545"/>
                    <a:pt x="179" y="553"/>
                  </a:cubicBezTo>
                  <a:cubicBezTo>
                    <a:pt x="179" y="573"/>
                    <a:pt x="179" y="573"/>
                    <a:pt x="179" y="573"/>
                  </a:cubicBezTo>
                  <a:cubicBezTo>
                    <a:pt x="232" y="520"/>
                    <a:pt x="232" y="520"/>
                    <a:pt x="232" y="520"/>
                  </a:cubicBezTo>
                  <a:cubicBezTo>
                    <a:pt x="179" y="466"/>
                    <a:pt x="179" y="466"/>
                    <a:pt x="179" y="466"/>
                  </a:cubicBezTo>
                  <a:cubicBezTo>
                    <a:pt x="179" y="486"/>
                    <a:pt x="179" y="486"/>
                    <a:pt x="179" y="486"/>
                  </a:cubicBezTo>
                  <a:cubicBezTo>
                    <a:pt x="179" y="486"/>
                    <a:pt x="179" y="486"/>
                    <a:pt x="179" y="486"/>
                  </a:cubicBezTo>
                  <a:cubicBezTo>
                    <a:pt x="179" y="494"/>
                    <a:pt x="172" y="501"/>
                    <a:pt x="164" y="501"/>
                  </a:cubicBezTo>
                  <a:cubicBezTo>
                    <a:pt x="15" y="501"/>
                    <a:pt x="15" y="501"/>
                    <a:pt x="15" y="501"/>
                  </a:cubicBezTo>
                  <a:close/>
                </a:path>
              </a:pathLst>
            </a:custGeom>
            <a:solidFill>
              <a:srgbClr val="C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zh-CN" altLang="en-US" sz="1400" ker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20" name="694220864"/>
            <p:cNvSpPr>
              <a:spLocks noChangeAspect="1" noChangeArrowheads="1"/>
            </p:cNvSpPr>
            <p:nvPr/>
          </p:nvSpPr>
          <p:spPr bwMode="auto">
            <a:xfrm>
              <a:off x="3628851" y="4146226"/>
              <a:ext cx="1089412" cy="1090694"/>
            </a:xfrm>
            <a:prstGeom prst="ellipse">
              <a:avLst/>
            </a:prstGeom>
            <a:gradFill flip="none" rotWithShape="1">
              <a:gsLst>
                <a:gs pos="38000">
                  <a:schemeClr val="tx2"/>
                </a:gs>
                <a:gs pos="100000">
                  <a:schemeClr val="tx2">
                    <a:lumMod val="95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 algn="ctr">
              <a:gradFill flip="none" rotWithShape="1">
                <a:gsLst>
                  <a:gs pos="0">
                    <a:srgbClr val="666666">
                      <a:lumMod val="60000"/>
                      <a:lumOff val="40000"/>
                      <a:alpha val="80000"/>
                    </a:srgbClr>
                  </a:gs>
                  <a:gs pos="100000">
                    <a:srgbClr val="666666">
                      <a:lumMod val="60000"/>
                      <a:lumOff val="40000"/>
                      <a:alpha val="40000"/>
                    </a:srgbClr>
                  </a:gs>
                </a:gsLst>
                <a:lin ang="0" scaled="0"/>
                <a:tileRect/>
              </a:gra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square" lIns="0" tIns="0" rIns="0" bIns="0" anchor="ctr" anchorCtr="1"/>
            <a:lstStyle/>
            <a:p>
              <a:pPr lvl="4"/>
              <a:endParaRPr lang="zh-CN" altLang="en-US" dirty="0">
                <a:sym typeface="微软雅黑" panose="020B0503020204020204" pitchFamily="34" charset="-122"/>
              </a:endParaRPr>
            </a:p>
          </p:txBody>
        </p:sp>
        <p:sp>
          <p:nvSpPr>
            <p:cNvPr id="33" name="Freeform 38"/>
            <p:cNvSpPr>
              <a:spLocks noEditPoints="1"/>
            </p:cNvSpPr>
            <p:nvPr/>
          </p:nvSpPr>
          <p:spPr bwMode="auto">
            <a:xfrm>
              <a:off x="1072514" y="4452239"/>
              <a:ext cx="555384" cy="348439"/>
            </a:xfrm>
            <a:custGeom>
              <a:avLst/>
              <a:gdLst>
                <a:gd name="T0" fmla="*/ 2147483646 w 535"/>
                <a:gd name="T1" fmla="*/ 2147483646 h 380"/>
                <a:gd name="T2" fmla="*/ 2147483646 w 535"/>
                <a:gd name="T3" fmla="*/ 2147483646 h 380"/>
                <a:gd name="T4" fmla="*/ 2147483646 w 535"/>
                <a:gd name="T5" fmla="*/ 2147483646 h 380"/>
                <a:gd name="T6" fmla="*/ 2147483646 w 535"/>
                <a:gd name="T7" fmla="*/ 2147483646 h 380"/>
                <a:gd name="T8" fmla="*/ 2147483646 w 535"/>
                <a:gd name="T9" fmla="*/ 2147483646 h 380"/>
                <a:gd name="T10" fmla="*/ 2147483646 w 535"/>
                <a:gd name="T11" fmla="*/ 2147483646 h 380"/>
                <a:gd name="T12" fmla="*/ 2147483646 w 535"/>
                <a:gd name="T13" fmla="*/ 2147483646 h 380"/>
                <a:gd name="T14" fmla="*/ 2147483646 w 535"/>
                <a:gd name="T15" fmla="*/ 2147483646 h 380"/>
                <a:gd name="T16" fmla="*/ 2147483646 w 535"/>
                <a:gd name="T17" fmla="*/ 2147483646 h 380"/>
                <a:gd name="T18" fmla="*/ 2147483646 w 535"/>
                <a:gd name="T19" fmla="*/ 2147483646 h 380"/>
                <a:gd name="T20" fmla="*/ 2147483646 w 535"/>
                <a:gd name="T21" fmla="*/ 2147483646 h 380"/>
                <a:gd name="T22" fmla="*/ 2147483646 w 535"/>
                <a:gd name="T23" fmla="*/ 2147483646 h 380"/>
                <a:gd name="T24" fmla="*/ 2147483646 w 535"/>
                <a:gd name="T25" fmla="*/ 2147483646 h 380"/>
                <a:gd name="T26" fmla="*/ 2147483646 w 535"/>
                <a:gd name="T27" fmla="*/ 2147483646 h 380"/>
                <a:gd name="T28" fmla="*/ 2147483646 w 535"/>
                <a:gd name="T29" fmla="*/ 2147483646 h 380"/>
                <a:gd name="T30" fmla="*/ 2147483646 w 535"/>
                <a:gd name="T31" fmla="*/ 2147483646 h 380"/>
                <a:gd name="T32" fmla="*/ 0 w 535"/>
                <a:gd name="T33" fmla="*/ 2147483646 h 380"/>
                <a:gd name="T34" fmla="*/ 2147483646 w 535"/>
                <a:gd name="T35" fmla="*/ 2147483646 h 380"/>
                <a:gd name="T36" fmla="*/ 2147483646 w 535"/>
                <a:gd name="T37" fmla="*/ 2147483646 h 380"/>
                <a:gd name="T38" fmla="*/ 2147483646 w 535"/>
                <a:gd name="T39" fmla="*/ 2147483646 h 380"/>
                <a:gd name="T40" fmla="*/ 2147483646 w 535"/>
                <a:gd name="T41" fmla="*/ 2147483646 h 380"/>
                <a:gd name="T42" fmla="*/ 2147483646 w 535"/>
                <a:gd name="T43" fmla="*/ 2147483646 h 380"/>
                <a:gd name="T44" fmla="*/ 2147483646 w 535"/>
                <a:gd name="T45" fmla="*/ 2147483646 h 380"/>
                <a:gd name="T46" fmla="*/ 2147483646 w 535"/>
                <a:gd name="T47" fmla="*/ 2147483646 h 380"/>
                <a:gd name="T48" fmla="*/ 2147483646 w 535"/>
                <a:gd name="T49" fmla="*/ 0 h 380"/>
                <a:gd name="T50" fmla="*/ 2147483646 w 535"/>
                <a:gd name="T51" fmla="*/ 0 h 380"/>
                <a:gd name="T52" fmla="*/ 2147483646 w 535"/>
                <a:gd name="T53" fmla="*/ 0 h 380"/>
                <a:gd name="T54" fmla="*/ 2147483646 w 535"/>
                <a:gd name="T55" fmla="*/ 2147483646 h 380"/>
                <a:gd name="T56" fmla="*/ 2147483646 w 535"/>
                <a:gd name="T57" fmla="*/ 2147483646 h 380"/>
                <a:gd name="T58" fmla="*/ 2147483646 w 535"/>
                <a:gd name="T59" fmla="*/ 2147483646 h 380"/>
                <a:gd name="T60" fmla="*/ 2147483646 w 535"/>
                <a:gd name="T61" fmla="*/ 2147483646 h 380"/>
                <a:gd name="T62" fmla="*/ 2147483646 w 535"/>
                <a:gd name="T63" fmla="*/ 2147483646 h 380"/>
                <a:gd name="T64" fmla="*/ 2147483646 w 535"/>
                <a:gd name="T65" fmla="*/ 2147483646 h 380"/>
                <a:gd name="T66" fmla="*/ 2147483646 w 535"/>
                <a:gd name="T67" fmla="*/ 2147483646 h 380"/>
                <a:gd name="T68" fmla="*/ 2147483646 w 535"/>
                <a:gd name="T69" fmla="*/ 2147483646 h 380"/>
                <a:gd name="T70" fmla="*/ 2147483646 w 535"/>
                <a:gd name="T71" fmla="*/ 2147483646 h 380"/>
                <a:gd name="T72" fmla="*/ 2147483646 w 535"/>
                <a:gd name="T73" fmla="*/ 2147483646 h 380"/>
                <a:gd name="T74" fmla="*/ 2147483646 w 535"/>
                <a:gd name="T75" fmla="*/ 2147483646 h 380"/>
                <a:gd name="T76" fmla="*/ 2147483646 w 535"/>
                <a:gd name="T77" fmla="*/ 2147483646 h 380"/>
                <a:gd name="T78" fmla="*/ 2147483646 w 535"/>
                <a:gd name="T79" fmla="*/ 2147483646 h 380"/>
                <a:gd name="T80" fmla="*/ 2147483646 w 535"/>
                <a:gd name="T81" fmla="*/ 2147483646 h 380"/>
                <a:gd name="T82" fmla="*/ 2147483646 w 535"/>
                <a:gd name="T83" fmla="*/ 2147483646 h 380"/>
                <a:gd name="T84" fmla="*/ 2147483646 w 535"/>
                <a:gd name="T85" fmla="*/ 2147483646 h 380"/>
                <a:gd name="T86" fmla="*/ 2147483646 w 535"/>
                <a:gd name="T87" fmla="*/ 2147483646 h 380"/>
                <a:gd name="T88" fmla="*/ 2147483646 w 535"/>
                <a:gd name="T89" fmla="*/ 2147483646 h 380"/>
                <a:gd name="T90" fmla="*/ 2147483646 w 535"/>
                <a:gd name="T91" fmla="*/ 2147483646 h 380"/>
                <a:gd name="T92" fmla="*/ 2147483646 w 535"/>
                <a:gd name="T93" fmla="*/ 2147483646 h 380"/>
                <a:gd name="T94" fmla="*/ 2147483646 w 535"/>
                <a:gd name="T95" fmla="*/ 2147483646 h 380"/>
                <a:gd name="T96" fmla="*/ 0 w 535"/>
                <a:gd name="T97" fmla="*/ 2147483646 h 380"/>
                <a:gd name="T98" fmla="*/ 0 w 535"/>
                <a:gd name="T99" fmla="*/ 2147483646 h 380"/>
                <a:gd name="T100" fmla="*/ 0 w 535"/>
                <a:gd name="T101" fmla="*/ 2147483646 h 38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35"/>
                <a:gd name="T154" fmla="*/ 0 h 380"/>
                <a:gd name="T155" fmla="*/ 535 w 535"/>
                <a:gd name="T156" fmla="*/ 380 h 38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35" h="380">
                  <a:moveTo>
                    <a:pt x="82" y="132"/>
                  </a:moveTo>
                  <a:cubicBezTo>
                    <a:pt x="82" y="269"/>
                    <a:pt x="82" y="269"/>
                    <a:pt x="82" y="269"/>
                  </a:cubicBezTo>
                  <a:cubicBezTo>
                    <a:pt x="113" y="269"/>
                    <a:pt x="113" y="269"/>
                    <a:pt x="113" y="269"/>
                  </a:cubicBezTo>
                  <a:cubicBezTo>
                    <a:pt x="118" y="269"/>
                    <a:pt x="124" y="272"/>
                    <a:pt x="127" y="276"/>
                  </a:cubicBezTo>
                  <a:cubicBezTo>
                    <a:pt x="190" y="339"/>
                    <a:pt x="190" y="339"/>
                    <a:pt x="190" y="339"/>
                  </a:cubicBezTo>
                  <a:cubicBezTo>
                    <a:pt x="399" y="339"/>
                    <a:pt x="399" y="339"/>
                    <a:pt x="399" y="339"/>
                  </a:cubicBezTo>
                  <a:cubicBezTo>
                    <a:pt x="399" y="311"/>
                    <a:pt x="399" y="311"/>
                    <a:pt x="399" y="311"/>
                  </a:cubicBezTo>
                  <a:cubicBezTo>
                    <a:pt x="399" y="300"/>
                    <a:pt x="409" y="291"/>
                    <a:pt x="420" y="291"/>
                  </a:cubicBezTo>
                  <a:cubicBezTo>
                    <a:pt x="421" y="291"/>
                    <a:pt x="421" y="291"/>
                    <a:pt x="421" y="291"/>
                  </a:cubicBezTo>
                  <a:cubicBezTo>
                    <a:pt x="464" y="291"/>
                    <a:pt x="464" y="291"/>
                    <a:pt x="464" y="291"/>
                  </a:cubicBezTo>
                  <a:cubicBezTo>
                    <a:pt x="476" y="291"/>
                    <a:pt x="485" y="300"/>
                    <a:pt x="485" y="311"/>
                  </a:cubicBezTo>
                  <a:cubicBezTo>
                    <a:pt x="485" y="312"/>
                    <a:pt x="485" y="312"/>
                    <a:pt x="485" y="312"/>
                  </a:cubicBezTo>
                  <a:cubicBezTo>
                    <a:pt x="485" y="339"/>
                    <a:pt x="485" y="339"/>
                    <a:pt x="485" y="339"/>
                  </a:cubicBezTo>
                  <a:cubicBezTo>
                    <a:pt x="494" y="339"/>
                    <a:pt x="494" y="339"/>
                    <a:pt x="494" y="339"/>
                  </a:cubicBezTo>
                  <a:cubicBezTo>
                    <a:pt x="494" y="311"/>
                    <a:pt x="494" y="311"/>
                    <a:pt x="494" y="311"/>
                  </a:cubicBezTo>
                  <a:cubicBezTo>
                    <a:pt x="494" y="175"/>
                    <a:pt x="494" y="175"/>
                    <a:pt x="494" y="175"/>
                  </a:cubicBezTo>
                  <a:cubicBezTo>
                    <a:pt x="494" y="148"/>
                    <a:pt x="494" y="148"/>
                    <a:pt x="494" y="148"/>
                  </a:cubicBezTo>
                  <a:cubicBezTo>
                    <a:pt x="485" y="148"/>
                    <a:pt x="485" y="148"/>
                    <a:pt x="485" y="148"/>
                  </a:cubicBezTo>
                  <a:cubicBezTo>
                    <a:pt x="485" y="175"/>
                    <a:pt x="485" y="175"/>
                    <a:pt x="485" y="175"/>
                  </a:cubicBezTo>
                  <a:cubicBezTo>
                    <a:pt x="485" y="187"/>
                    <a:pt x="476" y="196"/>
                    <a:pt x="464" y="196"/>
                  </a:cubicBezTo>
                  <a:cubicBezTo>
                    <a:pt x="464" y="196"/>
                    <a:pt x="464" y="196"/>
                    <a:pt x="464" y="196"/>
                  </a:cubicBezTo>
                  <a:cubicBezTo>
                    <a:pt x="420" y="196"/>
                    <a:pt x="420" y="196"/>
                    <a:pt x="420" y="196"/>
                  </a:cubicBezTo>
                  <a:cubicBezTo>
                    <a:pt x="409" y="196"/>
                    <a:pt x="399" y="187"/>
                    <a:pt x="399" y="175"/>
                  </a:cubicBezTo>
                  <a:cubicBezTo>
                    <a:pt x="399" y="175"/>
                    <a:pt x="399" y="175"/>
                    <a:pt x="399" y="175"/>
                  </a:cubicBezTo>
                  <a:cubicBezTo>
                    <a:pt x="399" y="148"/>
                    <a:pt x="399" y="148"/>
                    <a:pt x="399" y="148"/>
                  </a:cubicBezTo>
                  <a:cubicBezTo>
                    <a:pt x="363" y="148"/>
                    <a:pt x="363" y="148"/>
                    <a:pt x="363" y="148"/>
                  </a:cubicBezTo>
                  <a:cubicBezTo>
                    <a:pt x="352" y="148"/>
                    <a:pt x="343" y="139"/>
                    <a:pt x="343" y="128"/>
                  </a:cubicBezTo>
                  <a:cubicBezTo>
                    <a:pt x="343" y="127"/>
                    <a:pt x="343" y="127"/>
                    <a:pt x="343" y="127"/>
                  </a:cubicBezTo>
                  <a:cubicBezTo>
                    <a:pt x="343" y="83"/>
                    <a:pt x="343" y="83"/>
                    <a:pt x="343" y="83"/>
                  </a:cubicBezTo>
                  <a:cubicBezTo>
                    <a:pt x="158" y="83"/>
                    <a:pt x="158" y="83"/>
                    <a:pt x="158" y="83"/>
                  </a:cubicBezTo>
                  <a:cubicBezTo>
                    <a:pt x="136" y="122"/>
                    <a:pt x="136" y="122"/>
                    <a:pt x="136" y="122"/>
                  </a:cubicBezTo>
                  <a:cubicBezTo>
                    <a:pt x="132" y="128"/>
                    <a:pt x="125" y="132"/>
                    <a:pt x="118" y="132"/>
                  </a:cubicBezTo>
                  <a:cubicBezTo>
                    <a:pt x="82" y="132"/>
                    <a:pt x="82" y="132"/>
                    <a:pt x="82" y="132"/>
                  </a:cubicBezTo>
                  <a:close/>
                  <a:moveTo>
                    <a:pt x="0" y="112"/>
                  </a:moveTo>
                  <a:cubicBezTo>
                    <a:pt x="0" y="112"/>
                    <a:pt x="0" y="112"/>
                    <a:pt x="0" y="112"/>
                  </a:cubicBezTo>
                  <a:cubicBezTo>
                    <a:pt x="0" y="105"/>
                    <a:pt x="5" y="99"/>
                    <a:pt x="12" y="99"/>
                  </a:cubicBezTo>
                  <a:cubicBezTo>
                    <a:pt x="19" y="99"/>
                    <a:pt x="24" y="105"/>
                    <a:pt x="24" y="112"/>
                  </a:cubicBezTo>
                  <a:cubicBezTo>
                    <a:pt x="24" y="189"/>
                    <a:pt x="24" y="189"/>
                    <a:pt x="24" y="189"/>
                  </a:cubicBezTo>
                  <a:cubicBezTo>
                    <a:pt x="42" y="189"/>
                    <a:pt x="42" y="189"/>
                    <a:pt x="42" y="189"/>
                  </a:cubicBezTo>
                  <a:cubicBezTo>
                    <a:pt x="42" y="112"/>
                    <a:pt x="42" y="112"/>
                    <a:pt x="42" y="112"/>
                  </a:cubicBezTo>
                  <a:cubicBezTo>
                    <a:pt x="42" y="112"/>
                    <a:pt x="42" y="112"/>
                    <a:pt x="42" y="112"/>
                  </a:cubicBezTo>
                  <a:cubicBezTo>
                    <a:pt x="42" y="100"/>
                    <a:pt x="51" y="91"/>
                    <a:pt x="62" y="91"/>
                  </a:cubicBezTo>
                  <a:cubicBezTo>
                    <a:pt x="106" y="91"/>
                    <a:pt x="106" y="91"/>
                    <a:pt x="106" y="91"/>
                  </a:cubicBezTo>
                  <a:cubicBezTo>
                    <a:pt x="128" y="54"/>
                    <a:pt x="128" y="54"/>
                    <a:pt x="128" y="54"/>
                  </a:cubicBezTo>
                  <a:cubicBezTo>
                    <a:pt x="131" y="47"/>
                    <a:pt x="138" y="42"/>
                    <a:pt x="147" y="42"/>
                  </a:cubicBezTo>
                  <a:cubicBezTo>
                    <a:pt x="243" y="42"/>
                    <a:pt x="243" y="42"/>
                    <a:pt x="243" y="42"/>
                  </a:cubicBezTo>
                  <a:cubicBezTo>
                    <a:pt x="243" y="25"/>
                    <a:pt x="243" y="25"/>
                    <a:pt x="243" y="25"/>
                  </a:cubicBezTo>
                  <a:cubicBezTo>
                    <a:pt x="154" y="25"/>
                    <a:pt x="154" y="25"/>
                    <a:pt x="154" y="25"/>
                  </a:cubicBezTo>
                  <a:cubicBezTo>
                    <a:pt x="148" y="25"/>
                    <a:pt x="142" y="19"/>
                    <a:pt x="142" y="12"/>
                  </a:cubicBezTo>
                  <a:cubicBezTo>
                    <a:pt x="142" y="5"/>
                    <a:pt x="148" y="0"/>
                    <a:pt x="154" y="0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355" y="0"/>
                    <a:pt x="355" y="0"/>
                    <a:pt x="355" y="0"/>
                  </a:cubicBezTo>
                  <a:cubicBezTo>
                    <a:pt x="362" y="0"/>
                    <a:pt x="367" y="5"/>
                    <a:pt x="367" y="12"/>
                  </a:cubicBezTo>
                  <a:cubicBezTo>
                    <a:pt x="367" y="19"/>
                    <a:pt x="362" y="25"/>
                    <a:pt x="355" y="25"/>
                  </a:cubicBezTo>
                  <a:cubicBezTo>
                    <a:pt x="267" y="25"/>
                    <a:pt x="267" y="25"/>
                    <a:pt x="267" y="25"/>
                  </a:cubicBezTo>
                  <a:cubicBezTo>
                    <a:pt x="267" y="42"/>
                    <a:pt x="267" y="42"/>
                    <a:pt x="267" y="42"/>
                  </a:cubicBezTo>
                  <a:cubicBezTo>
                    <a:pt x="363" y="42"/>
                    <a:pt x="363" y="42"/>
                    <a:pt x="363" y="42"/>
                  </a:cubicBezTo>
                  <a:cubicBezTo>
                    <a:pt x="363" y="42"/>
                    <a:pt x="363" y="42"/>
                    <a:pt x="363" y="42"/>
                  </a:cubicBezTo>
                  <a:cubicBezTo>
                    <a:pt x="375" y="42"/>
                    <a:pt x="384" y="51"/>
                    <a:pt x="384" y="62"/>
                  </a:cubicBezTo>
                  <a:cubicBezTo>
                    <a:pt x="384" y="107"/>
                    <a:pt x="384" y="107"/>
                    <a:pt x="384" y="107"/>
                  </a:cubicBezTo>
                  <a:cubicBezTo>
                    <a:pt x="420" y="107"/>
                    <a:pt x="420" y="107"/>
                    <a:pt x="420" y="107"/>
                  </a:cubicBezTo>
                  <a:cubicBezTo>
                    <a:pt x="420" y="107"/>
                    <a:pt x="420" y="107"/>
                    <a:pt x="420" y="107"/>
                  </a:cubicBezTo>
                  <a:cubicBezTo>
                    <a:pt x="431" y="107"/>
                    <a:pt x="440" y="116"/>
                    <a:pt x="440" y="128"/>
                  </a:cubicBezTo>
                  <a:cubicBezTo>
                    <a:pt x="440" y="155"/>
                    <a:pt x="440" y="155"/>
                    <a:pt x="440" y="155"/>
                  </a:cubicBezTo>
                  <a:cubicBezTo>
                    <a:pt x="444" y="155"/>
                    <a:pt x="444" y="155"/>
                    <a:pt x="444" y="155"/>
                  </a:cubicBezTo>
                  <a:cubicBezTo>
                    <a:pt x="444" y="128"/>
                    <a:pt x="444" y="128"/>
                    <a:pt x="444" y="128"/>
                  </a:cubicBezTo>
                  <a:cubicBezTo>
                    <a:pt x="444" y="128"/>
                    <a:pt x="444" y="128"/>
                    <a:pt x="444" y="128"/>
                  </a:cubicBezTo>
                  <a:cubicBezTo>
                    <a:pt x="444" y="116"/>
                    <a:pt x="453" y="107"/>
                    <a:pt x="464" y="107"/>
                  </a:cubicBezTo>
                  <a:cubicBezTo>
                    <a:pt x="514" y="107"/>
                    <a:pt x="514" y="107"/>
                    <a:pt x="514" y="107"/>
                  </a:cubicBezTo>
                  <a:cubicBezTo>
                    <a:pt x="515" y="107"/>
                    <a:pt x="515" y="107"/>
                    <a:pt x="515" y="107"/>
                  </a:cubicBezTo>
                  <a:cubicBezTo>
                    <a:pt x="526" y="107"/>
                    <a:pt x="535" y="116"/>
                    <a:pt x="535" y="128"/>
                  </a:cubicBezTo>
                  <a:cubicBezTo>
                    <a:pt x="535" y="175"/>
                    <a:pt x="535" y="175"/>
                    <a:pt x="535" y="175"/>
                  </a:cubicBezTo>
                  <a:cubicBezTo>
                    <a:pt x="535" y="311"/>
                    <a:pt x="535" y="311"/>
                    <a:pt x="535" y="311"/>
                  </a:cubicBezTo>
                  <a:cubicBezTo>
                    <a:pt x="535" y="359"/>
                    <a:pt x="535" y="359"/>
                    <a:pt x="535" y="359"/>
                  </a:cubicBezTo>
                  <a:cubicBezTo>
                    <a:pt x="535" y="359"/>
                    <a:pt x="535" y="359"/>
                    <a:pt x="535" y="359"/>
                  </a:cubicBezTo>
                  <a:cubicBezTo>
                    <a:pt x="535" y="370"/>
                    <a:pt x="526" y="380"/>
                    <a:pt x="515" y="380"/>
                  </a:cubicBezTo>
                  <a:cubicBezTo>
                    <a:pt x="465" y="380"/>
                    <a:pt x="465" y="380"/>
                    <a:pt x="465" y="380"/>
                  </a:cubicBezTo>
                  <a:cubicBezTo>
                    <a:pt x="464" y="380"/>
                    <a:pt x="464" y="380"/>
                    <a:pt x="464" y="380"/>
                  </a:cubicBezTo>
                  <a:cubicBezTo>
                    <a:pt x="453" y="380"/>
                    <a:pt x="444" y="370"/>
                    <a:pt x="444" y="359"/>
                  </a:cubicBezTo>
                  <a:cubicBezTo>
                    <a:pt x="444" y="331"/>
                    <a:pt x="444" y="331"/>
                    <a:pt x="444" y="331"/>
                  </a:cubicBezTo>
                  <a:cubicBezTo>
                    <a:pt x="440" y="331"/>
                    <a:pt x="440" y="331"/>
                    <a:pt x="440" y="331"/>
                  </a:cubicBezTo>
                  <a:cubicBezTo>
                    <a:pt x="440" y="359"/>
                    <a:pt x="440" y="359"/>
                    <a:pt x="440" y="359"/>
                  </a:cubicBezTo>
                  <a:cubicBezTo>
                    <a:pt x="440" y="359"/>
                    <a:pt x="440" y="359"/>
                    <a:pt x="440" y="359"/>
                  </a:cubicBezTo>
                  <a:cubicBezTo>
                    <a:pt x="440" y="370"/>
                    <a:pt x="431" y="380"/>
                    <a:pt x="420" y="380"/>
                  </a:cubicBezTo>
                  <a:cubicBezTo>
                    <a:pt x="182" y="380"/>
                    <a:pt x="182" y="380"/>
                    <a:pt x="182" y="380"/>
                  </a:cubicBezTo>
                  <a:cubicBezTo>
                    <a:pt x="182" y="380"/>
                    <a:pt x="182" y="380"/>
                    <a:pt x="182" y="380"/>
                  </a:cubicBezTo>
                  <a:cubicBezTo>
                    <a:pt x="177" y="380"/>
                    <a:pt x="171" y="378"/>
                    <a:pt x="168" y="374"/>
                  </a:cubicBezTo>
                  <a:cubicBezTo>
                    <a:pt x="105" y="310"/>
                    <a:pt x="105" y="310"/>
                    <a:pt x="105" y="310"/>
                  </a:cubicBezTo>
                  <a:cubicBezTo>
                    <a:pt x="62" y="310"/>
                    <a:pt x="62" y="310"/>
                    <a:pt x="62" y="310"/>
                  </a:cubicBezTo>
                  <a:cubicBezTo>
                    <a:pt x="62" y="310"/>
                    <a:pt x="62" y="310"/>
                    <a:pt x="62" y="310"/>
                  </a:cubicBezTo>
                  <a:cubicBezTo>
                    <a:pt x="51" y="310"/>
                    <a:pt x="42" y="301"/>
                    <a:pt x="42" y="290"/>
                  </a:cubicBezTo>
                  <a:cubicBezTo>
                    <a:pt x="42" y="213"/>
                    <a:pt x="42" y="213"/>
                    <a:pt x="42" y="213"/>
                  </a:cubicBezTo>
                  <a:cubicBezTo>
                    <a:pt x="24" y="213"/>
                    <a:pt x="24" y="213"/>
                    <a:pt x="24" y="213"/>
                  </a:cubicBezTo>
                  <a:cubicBezTo>
                    <a:pt x="24" y="290"/>
                    <a:pt x="24" y="290"/>
                    <a:pt x="24" y="290"/>
                  </a:cubicBezTo>
                  <a:cubicBezTo>
                    <a:pt x="24" y="297"/>
                    <a:pt x="19" y="302"/>
                    <a:pt x="12" y="302"/>
                  </a:cubicBezTo>
                  <a:cubicBezTo>
                    <a:pt x="5" y="302"/>
                    <a:pt x="0" y="297"/>
                    <a:pt x="0" y="290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0" y="112"/>
                    <a:pt x="0" y="112"/>
                    <a:pt x="0" y="112"/>
                  </a:cubicBezTo>
                  <a:close/>
                </a:path>
              </a:pathLst>
            </a:custGeom>
            <a:solidFill>
              <a:srgbClr val="C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zh-CN" altLang="en-US" sz="1400" ker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34" name="文本框 33"/>
            <p:cNvSpPr txBox="1"/>
            <p:nvPr/>
          </p:nvSpPr>
          <p:spPr>
            <a:xfrm>
              <a:off x="2161662" y="3061841"/>
              <a:ext cx="1338828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zh-CN" altLang="en-US" b="1" dirty="0">
                  <a:solidFill>
                    <a:srgbClr val="C7000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企业</a:t>
              </a:r>
              <a:endParaRPr lang="en-US" altLang="zh-CN" b="1" dirty="0">
                <a:solidFill>
                  <a:srgbClr val="C7000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  <a:p>
              <a:pPr algn="ctr"/>
              <a:r>
                <a:rPr lang="zh-CN" altLang="en-US" b="1" dirty="0">
                  <a:solidFill>
                    <a:srgbClr val="C7000A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微软雅黑" panose="020B0503020204020204" pitchFamily="34" charset="-122"/>
                </a:rPr>
                <a:t>核心价值观</a:t>
              </a:r>
            </a:p>
          </p:txBody>
        </p:sp>
        <p:sp>
          <p:nvSpPr>
            <p:cNvPr id="35" name="Freeform 28"/>
            <p:cNvSpPr>
              <a:spLocks noEditPoints="1"/>
            </p:cNvSpPr>
            <p:nvPr/>
          </p:nvSpPr>
          <p:spPr bwMode="auto">
            <a:xfrm>
              <a:off x="3895520" y="4403165"/>
              <a:ext cx="556075" cy="576817"/>
            </a:xfrm>
            <a:custGeom>
              <a:avLst/>
              <a:gdLst>
                <a:gd name="T0" fmla="*/ 2147483646 w 1198"/>
                <a:gd name="T1" fmla="*/ 2147483646 h 1198"/>
                <a:gd name="T2" fmla="*/ 2147483646 w 1198"/>
                <a:gd name="T3" fmla="*/ 2147483646 h 1198"/>
                <a:gd name="T4" fmla="*/ 2147483646 w 1198"/>
                <a:gd name="T5" fmla="*/ 2147483646 h 1198"/>
                <a:gd name="T6" fmla="*/ 2147483646 w 1198"/>
                <a:gd name="T7" fmla="*/ 2147483646 h 1198"/>
                <a:gd name="T8" fmla="*/ 2147483646 w 1198"/>
                <a:gd name="T9" fmla="*/ 2147483646 h 1198"/>
                <a:gd name="T10" fmla="*/ 2147483646 w 1198"/>
                <a:gd name="T11" fmla="*/ 2147483646 h 1198"/>
                <a:gd name="T12" fmla="*/ 2147483646 w 1198"/>
                <a:gd name="T13" fmla="*/ 2147483646 h 1198"/>
                <a:gd name="T14" fmla="*/ 2147483646 w 1198"/>
                <a:gd name="T15" fmla="*/ 2147483646 h 1198"/>
                <a:gd name="T16" fmla="*/ 2147483646 w 1198"/>
                <a:gd name="T17" fmla="*/ 2147483646 h 1198"/>
                <a:gd name="T18" fmla="*/ 2147483646 w 1198"/>
                <a:gd name="T19" fmla="*/ 2147483646 h 1198"/>
                <a:gd name="T20" fmla="*/ 2147483646 w 1198"/>
                <a:gd name="T21" fmla="*/ 2147483646 h 1198"/>
                <a:gd name="T22" fmla="*/ 2147483646 w 1198"/>
                <a:gd name="T23" fmla="*/ 2147483646 h 1198"/>
                <a:gd name="T24" fmla="*/ 2147483646 w 1198"/>
                <a:gd name="T25" fmla="*/ 2147483646 h 1198"/>
                <a:gd name="T26" fmla="*/ 2147483646 w 1198"/>
                <a:gd name="T27" fmla="*/ 2147483646 h 1198"/>
                <a:gd name="T28" fmla="*/ 2147483646 w 1198"/>
                <a:gd name="T29" fmla="*/ 2147483646 h 1198"/>
                <a:gd name="T30" fmla="*/ 2147483646 w 1198"/>
                <a:gd name="T31" fmla="*/ 2147483646 h 1198"/>
                <a:gd name="T32" fmla="*/ 2147483646 w 1198"/>
                <a:gd name="T33" fmla="*/ 2147483646 h 1198"/>
                <a:gd name="T34" fmla="*/ 2147483646 w 1198"/>
                <a:gd name="T35" fmla="*/ 2147483646 h 1198"/>
                <a:gd name="T36" fmla="*/ 0 w 1198"/>
                <a:gd name="T37" fmla="*/ 2147483646 h 1198"/>
                <a:gd name="T38" fmla="*/ 2147483646 w 1198"/>
                <a:gd name="T39" fmla="*/ 2147483646 h 1198"/>
                <a:gd name="T40" fmla="*/ 2147483646 w 1198"/>
                <a:gd name="T41" fmla="*/ 2147483646 h 1198"/>
                <a:gd name="T42" fmla="*/ 2147483646 w 1198"/>
                <a:gd name="T43" fmla="*/ 2147483646 h 1198"/>
                <a:gd name="T44" fmla="*/ 2147483646 w 1198"/>
                <a:gd name="T45" fmla="*/ 2147483646 h 1198"/>
                <a:gd name="T46" fmla="*/ 2147483646 w 1198"/>
                <a:gd name="T47" fmla="*/ 2147483646 h 1198"/>
                <a:gd name="T48" fmla="*/ 2147483646 w 1198"/>
                <a:gd name="T49" fmla="*/ 2147483646 h 1198"/>
                <a:gd name="T50" fmla="*/ 2147483646 w 1198"/>
                <a:gd name="T51" fmla="*/ 2147483646 h 1198"/>
                <a:gd name="T52" fmla="*/ 2147483646 w 1198"/>
                <a:gd name="T53" fmla="*/ 2147483646 h 1198"/>
                <a:gd name="T54" fmla="*/ 2147483646 w 1198"/>
                <a:gd name="T55" fmla="*/ 2147483646 h 1198"/>
                <a:gd name="T56" fmla="*/ 2147483646 w 1198"/>
                <a:gd name="T57" fmla="*/ 2147483646 h 1198"/>
                <a:gd name="T58" fmla="*/ 2147483646 w 1198"/>
                <a:gd name="T59" fmla="*/ 2147483646 h 1198"/>
                <a:gd name="T60" fmla="*/ 2147483646 w 1198"/>
                <a:gd name="T61" fmla="*/ 2147483646 h 1198"/>
                <a:gd name="T62" fmla="*/ 2147483646 w 1198"/>
                <a:gd name="T63" fmla="*/ 2147483646 h 1198"/>
                <a:gd name="T64" fmla="*/ 2147483646 w 1198"/>
                <a:gd name="T65" fmla="*/ 2147483646 h 1198"/>
                <a:gd name="T66" fmla="*/ 2147483646 w 1198"/>
                <a:gd name="T67" fmla="*/ 2147483646 h 1198"/>
                <a:gd name="T68" fmla="*/ 2147483646 w 1198"/>
                <a:gd name="T69" fmla="*/ 2147483646 h 1198"/>
                <a:gd name="T70" fmla="*/ 2147483646 w 1198"/>
                <a:gd name="T71" fmla="*/ 2147483646 h 1198"/>
                <a:gd name="T72" fmla="*/ 2147483646 w 1198"/>
                <a:gd name="T73" fmla="*/ 2147483646 h 1198"/>
                <a:gd name="T74" fmla="*/ 2147483646 w 1198"/>
                <a:gd name="T75" fmla="*/ 2147483646 h 1198"/>
                <a:gd name="T76" fmla="*/ 2147483646 w 1198"/>
                <a:gd name="T77" fmla="*/ 2147483646 h 1198"/>
                <a:gd name="T78" fmla="*/ 2147483646 w 1198"/>
                <a:gd name="T79" fmla="*/ 2147483646 h 1198"/>
                <a:gd name="T80" fmla="*/ 2147483646 w 1198"/>
                <a:gd name="T81" fmla="*/ 2147483646 h 1198"/>
                <a:gd name="T82" fmla="*/ 2147483646 w 1198"/>
                <a:gd name="T83" fmla="*/ 2147483646 h 1198"/>
                <a:gd name="T84" fmla="*/ 2147483646 w 1198"/>
                <a:gd name="T85" fmla="*/ 2147483646 h 1198"/>
                <a:gd name="T86" fmla="*/ 2147483646 w 1198"/>
                <a:gd name="T87" fmla="*/ 2147483646 h 1198"/>
                <a:gd name="T88" fmla="*/ 2147483646 w 1198"/>
                <a:gd name="T89" fmla="*/ 2147483646 h 1198"/>
                <a:gd name="T90" fmla="*/ 2147483646 w 1198"/>
                <a:gd name="T91" fmla="*/ 2147483646 h 1198"/>
                <a:gd name="T92" fmla="*/ 2147483646 w 1198"/>
                <a:gd name="T93" fmla="*/ 2147483646 h 1198"/>
                <a:gd name="T94" fmla="*/ 2147483646 w 1198"/>
                <a:gd name="T95" fmla="*/ 2147483646 h 1198"/>
                <a:gd name="T96" fmla="*/ 2147483646 w 1198"/>
                <a:gd name="T97" fmla="*/ 2147483646 h 1198"/>
                <a:gd name="T98" fmla="*/ 2147483646 w 1198"/>
                <a:gd name="T99" fmla="*/ 2147483646 h 1198"/>
                <a:gd name="T100" fmla="*/ 2147483646 w 1198"/>
                <a:gd name="T101" fmla="*/ 2147483646 h 1198"/>
                <a:gd name="T102" fmla="*/ 2147483646 w 1198"/>
                <a:gd name="T103" fmla="*/ 2147483646 h 1198"/>
                <a:gd name="T104" fmla="*/ 2147483646 w 1198"/>
                <a:gd name="T105" fmla="*/ 2147483646 h 1198"/>
                <a:gd name="T106" fmla="*/ 2147483646 w 1198"/>
                <a:gd name="T107" fmla="*/ 2147483646 h 119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98"/>
                <a:gd name="T163" fmla="*/ 0 h 1198"/>
                <a:gd name="T164" fmla="*/ 1198 w 1198"/>
                <a:gd name="T165" fmla="*/ 1198 h 119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98" h="1198">
                  <a:moveTo>
                    <a:pt x="840" y="164"/>
                  </a:moveTo>
                  <a:cubicBezTo>
                    <a:pt x="992" y="11"/>
                    <a:pt x="992" y="11"/>
                    <a:pt x="992" y="11"/>
                  </a:cubicBezTo>
                  <a:cubicBezTo>
                    <a:pt x="1003" y="0"/>
                    <a:pt x="1021" y="0"/>
                    <a:pt x="1031" y="11"/>
                  </a:cubicBezTo>
                  <a:cubicBezTo>
                    <a:pt x="1036" y="15"/>
                    <a:pt x="1038" y="19"/>
                    <a:pt x="1039" y="23"/>
                  </a:cubicBezTo>
                  <a:cubicBezTo>
                    <a:pt x="1039" y="24"/>
                    <a:pt x="1039" y="24"/>
                    <a:pt x="1039" y="24"/>
                  </a:cubicBezTo>
                  <a:cubicBezTo>
                    <a:pt x="1039" y="24"/>
                    <a:pt x="1039" y="24"/>
                    <a:pt x="1039" y="24"/>
                  </a:cubicBezTo>
                  <a:cubicBezTo>
                    <a:pt x="1068" y="130"/>
                    <a:pt x="1068" y="130"/>
                    <a:pt x="1068" y="130"/>
                  </a:cubicBezTo>
                  <a:cubicBezTo>
                    <a:pt x="1174" y="159"/>
                    <a:pt x="1174" y="159"/>
                    <a:pt x="1174" y="159"/>
                  </a:cubicBezTo>
                  <a:cubicBezTo>
                    <a:pt x="1174" y="159"/>
                    <a:pt x="1174" y="159"/>
                    <a:pt x="1174" y="159"/>
                  </a:cubicBezTo>
                  <a:cubicBezTo>
                    <a:pt x="1175" y="159"/>
                    <a:pt x="1175" y="159"/>
                    <a:pt x="1175" y="159"/>
                  </a:cubicBezTo>
                  <a:cubicBezTo>
                    <a:pt x="1179" y="160"/>
                    <a:pt x="1183" y="162"/>
                    <a:pt x="1187" y="166"/>
                  </a:cubicBezTo>
                  <a:cubicBezTo>
                    <a:pt x="1198" y="177"/>
                    <a:pt x="1198" y="195"/>
                    <a:pt x="1187" y="206"/>
                  </a:cubicBezTo>
                  <a:cubicBezTo>
                    <a:pt x="1035" y="358"/>
                    <a:pt x="1035" y="358"/>
                    <a:pt x="1035" y="358"/>
                  </a:cubicBezTo>
                  <a:cubicBezTo>
                    <a:pt x="1027" y="365"/>
                    <a:pt x="1017" y="368"/>
                    <a:pt x="1007" y="366"/>
                  </a:cubicBezTo>
                  <a:cubicBezTo>
                    <a:pt x="922" y="343"/>
                    <a:pt x="922" y="343"/>
                    <a:pt x="922" y="343"/>
                  </a:cubicBezTo>
                  <a:cubicBezTo>
                    <a:pt x="878" y="387"/>
                    <a:pt x="878" y="387"/>
                    <a:pt x="878" y="387"/>
                  </a:cubicBezTo>
                  <a:cubicBezTo>
                    <a:pt x="925" y="448"/>
                    <a:pt x="953" y="526"/>
                    <a:pt x="953" y="610"/>
                  </a:cubicBezTo>
                  <a:cubicBezTo>
                    <a:pt x="953" y="710"/>
                    <a:pt x="913" y="802"/>
                    <a:pt x="846" y="868"/>
                  </a:cubicBezTo>
                  <a:cubicBezTo>
                    <a:pt x="845" y="869"/>
                    <a:pt x="845" y="869"/>
                    <a:pt x="845" y="869"/>
                  </a:cubicBezTo>
                  <a:cubicBezTo>
                    <a:pt x="779" y="935"/>
                    <a:pt x="688" y="976"/>
                    <a:pt x="588" y="976"/>
                  </a:cubicBezTo>
                  <a:cubicBezTo>
                    <a:pt x="488" y="976"/>
                    <a:pt x="396" y="935"/>
                    <a:pt x="330" y="868"/>
                  </a:cubicBezTo>
                  <a:cubicBezTo>
                    <a:pt x="264" y="802"/>
                    <a:pt x="223" y="710"/>
                    <a:pt x="223" y="610"/>
                  </a:cubicBezTo>
                  <a:cubicBezTo>
                    <a:pt x="223" y="509"/>
                    <a:pt x="264" y="418"/>
                    <a:pt x="330" y="352"/>
                  </a:cubicBezTo>
                  <a:cubicBezTo>
                    <a:pt x="396" y="286"/>
                    <a:pt x="488" y="245"/>
                    <a:pt x="588" y="245"/>
                  </a:cubicBezTo>
                  <a:cubicBezTo>
                    <a:pt x="672" y="245"/>
                    <a:pt x="750" y="273"/>
                    <a:pt x="811" y="321"/>
                  </a:cubicBezTo>
                  <a:cubicBezTo>
                    <a:pt x="855" y="277"/>
                    <a:pt x="855" y="277"/>
                    <a:pt x="855" y="277"/>
                  </a:cubicBezTo>
                  <a:cubicBezTo>
                    <a:pt x="832" y="191"/>
                    <a:pt x="832" y="191"/>
                    <a:pt x="832" y="191"/>
                  </a:cubicBezTo>
                  <a:cubicBezTo>
                    <a:pt x="829" y="181"/>
                    <a:pt x="833" y="171"/>
                    <a:pt x="840" y="164"/>
                  </a:cubicBezTo>
                  <a:close/>
                  <a:moveTo>
                    <a:pt x="1062" y="467"/>
                  </a:moveTo>
                  <a:cubicBezTo>
                    <a:pt x="1062" y="467"/>
                    <a:pt x="1062" y="467"/>
                    <a:pt x="1062" y="467"/>
                  </a:cubicBezTo>
                  <a:cubicBezTo>
                    <a:pt x="1054" y="441"/>
                    <a:pt x="1068" y="415"/>
                    <a:pt x="1093" y="408"/>
                  </a:cubicBezTo>
                  <a:cubicBezTo>
                    <a:pt x="1117" y="401"/>
                    <a:pt x="1143" y="415"/>
                    <a:pt x="1151" y="439"/>
                  </a:cubicBezTo>
                  <a:cubicBezTo>
                    <a:pt x="1159" y="467"/>
                    <a:pt x="1166" y="494"/>
                    <a:pt x="1170" y="523"/>
                  </a:cubicBezTo>
                  <a:cubicBezTo>
                    <a:pt x="1174" y="551"/>
                    <a:pt x="1176" y="581"/>
                    <a:pt x="1176" y="610"/>
                  </a:cubicBezTo>
                  <a:cubicBezTo>
                    <a:pt x="1176" y="772"/>
                    <a:pt x="1110" y="919"/>
                    <a:pt x="1004" y="1025"/>
                  </a:cubicBezTo>
                  <a:cubicBezTo>
                    <a:pt x="898" y="1131"/>
                    <a:pt x="751" y="1198"/>
                    <a:pt x="588" y="1198"/>
                  </a:cubicBezTo>
                  <a:cubicBezTo>
                    <a:pt x="426" y="1198"/>
                    <a:pt x="279" y="1131"/>
                    <a:pt x="173" y="1025"/>
                  </a:cubicBezTo>
                  <a:cubicBezTo>
                    <a:pt x="67" y="919"/>
                    <a:pt x="0" y="772"/>
                    <a:pt x="0" y="610"/>
                  </a:cubicBezTo>
                  <a:cubicBezTo>
                    <a:pt x="0" y="448"/>
                    <a:pt x="67" y="301"/>
                    <a:pt x="173" y="194"/>
                  </a:cubicBezTo>
                  <a:cubicBezTo>
                    <a:pt x="279" y="88"/>
                    <a:pt x="426" y="22"/>
                    <a:pt x="588" y="22"/>
                  </a:cubicBezTo>
                  <a:cubicBezTo>
                    <a:pt x="617" y="22"/>
                    <a:pt x="646" y="24"/>
                    <a:pt x="675" y="29"/>
                  </a:cubicBezTo>
                  <a:cubicBezTo>
                    <a:pt x="704" y="33"/>
                    <a:pt x="732" y="39"/>
                    <a:pt x="759" y="47"/>
                  </a:cubicBezTo>
                  <a:cubicBezTo>
                    <a:pt x="784" y="54"/>
                    <a:pt x="797" y="81"/>
                    <a:pt x="790" y="105"/>
                  </a:cubicBezTo>
                  <a:cubicBezTo>
                    <a:pt x="783" y="130"/>
                    <a:pt x="757" y="144"/>
                    <a:pt x="732" y="136"/>
                  </a:cubicBezTo>
                  <a:cubicBezTo>
                    <a:pt x="709" y="129"/>
                    <a:pt x="685" y="124"/>
                    <a:pt x="661" y="121"/>
                  </a:cubicBezTo>
                  <a:cubicBezTo>
                    <a:pt x="638" y="117"/>
                    <a:pt x="614" y="115"/>
                    <a:pt x="588" y="115"/>
                  </a:cubicBezTo>
                  <a:cubicBezTo>
                    <a:pt x="452" y="115"/>
                    <a:pt x="328" y="171"/>
                    <a:pt x="239" y="261"/>
                  </a:cubicBezTo>
                  <a:cubicBezTo>
                    <a:pt x="149" y="350"/>
                    <a:pt x="94" y="473"/>
                    <a:pt x="94" y="610"/>
                  </a:cubicBezTo>
                  <a:cubicBezTo>
                    <a:pt x="94" y="746"/>
                    <a:pt x="149" y="870"/>
                    <a:pt x="239" y="960"/>
                  </a:cubicBezTo>
                  <a:cubicBezTo>
                    <a:pt x="328" y="1049"/>
                    <a:pt x="452" y="1105"/>
                    <a:pt x="588" y="1105"/>
                  </a:cubicBezTo>
                  <a:cubicBezTo>
                    <a:pt x="725" y="1105"/>
                    <a:pt x="849" y="1049"/>
                    <a:pt x="938" y="960"/>
                  </a:cubicBezTo>
                  <a:cubicBezTo>
                    <a:pt x="1027" y="870"/>
                    <a:pt x="1083" y="746"/>
                    <a:pt x="1083" y="610"/>
                  </a:cubicBezTo>
                  <a:cubicBezTo>
                    <a:pt x="1083" y="585"/>
                    <a:pt x="1081" y="560"/>
                    <a:pt x="1078" y="537"/>
                  </a:cubicBezTo>
                  <a:cubicBezTo>
                    <a:pt x="1074" y="513"/>
                    <a:pt x="1069" y="490"/>
                    <a:pt x="1062" y="467"/>
                  </a:cubicBezTo>
                  <a:close/>
                  <a:moveTo>
                    <a:pt x="588" y="442"/>
                  </a:moveTo>
                  <a:cubicBezTo>
                    <a:pt x="588" y="442"/>
                    <a:pt x="588" y="442"/>
                    <a:pt x="588" y="442"/>
                  </a:cubicBezTo>
                  <a:cubicBezTo>
                    <a:pt x="618" y="442"/>
                    <a:pt x="645" y="449"/>
                    <a:pt x="670" y="463"/>
                  </a:cubicBezTo>
                  <a:cubicBezTo>
                    <a:pt x="772" y="360"/>
                    <a:pt x="772" y="360"/>
                    <a:pt x="772" y="360"/>
                  </a:cubicBezTo>
                  <a:cubicBezTo>
                    <a:pt x="720" y="323"/>
                    <a:pt x="657" y="301"/>
                    <a:pt x="588" y="301"/>
                  </a:cubicBezTo>
                  <a:cubicBezTo>
                    <a:pt x="503" y="301"/>
                    <a:pt x="426" y="335"/>
                    <a:pt x="370" y="391"/>
                  </a:cubicBezTo>
                  <a:cubicBezTo>
                    <a:pt x="370" y="391"/>
                    <a:pt x="370" y="391"/>
                    <a:pt x="370" y="391"/>
                  </a:cubicBezTo>
                  <a:cubicBezTo>
                    <a:pt x="370" y="391"/>
                    <a:pt x="370" y="391"/>
                    <a:pt x="370" y="391"/>
                  </a:cubicBezTo>
                  <a:cubicBezTo>
                    <a:pt x="314" y="447"/>
                    <a:pt x="279" y="525"/>
                    <a:pt x="279" y="610"/>
                  </a:cubicBezTo>
                  <a:cubicBezTo>
                    <a:pt x="279" y="695"/>
                    <a:pt x="314" y="773"/>
                    <a:pt x="370" y="828"/>
                  </a:cubicBezTo>
                  <a:cubicBezTo>
                    <a:pt x="426" y="885"/>
                    <a:pt x="503" y="919"/>
                    <a:pt x="588" y="919"/>
                  </a:cubicBezTo>
                  <a:cubicBezTo>
                    <a:pt x="673" y="919"/>
                    <a:pt x="750" y="885"/>
                    <a:pt x="806" y="830"/>
                  </a:cubicBezTo>
                  <a:cubicBezTo>
                    <a:pt x="807" y="828"/>
                    <a:pt x="807" y="828"/>
                    <a:pt x="807" y="828"/>
                  </a:cubicBezTo>
                  <a:cubicBezTo>
                    <a:pt x="863" y="773"/>
                    <a:pt x="898" y="695"/>
                    <a:pt x="898" y="610"/>
                  </a:cubicBezTo>
                  <a:cubicBezTo>
                    <a:pt x="898" y="541"/>
                    <a:pt x="876" y="477"/>
                    <a:pt x="838" y="427"/>
                  </a:cubicBezTo>
                  <a:cubicBezTo>
                    <a:pt x="735" y="528"/>
                    <a:pt x="735" y="528"/>
                    <a:pt x="735" y="528"/>
                  </a:cubicBezTo>
                  <a:cubicBezTo>
                    <a:pt x="749" y="553"/>
                    <a:pt x="757" y="580"/>
                    <a:pt x="757" y="610"/>
                  </a:cubicBezTo>
                  <a:cubicBezTo>
                    <a:pt x="757" y="656"/>
                    <a:pt x="737" y="698"/>
                    <a:pt x="707" y="729"/>
                  </a:cubicBezTo>
                  <a:cubicBezTo>
                    <a:pt x="707" y="729"/>
                    <a:pt x="707" y="729"/>
                    <a:pt x="707" y="729"/>
                  </a:cubicBezTo>
                  <a:cubicBezTo>
                    <a:pt x="676" y="758"/>
                    <a:pt x="635" y="778"/>
                    <a:pt x="588" y="778"/>
                  </a:cubicBezTo>
                  <a:cubicBezTo>
                    <a:pt x="542" y="778"/>
                    <a:pt x="500" y="758"/>
                    <a:pt x="470" y="729"/>
                  </a:cubicBezTo>
                  <a:cubicBezTo>
                    <a:pt x="470" y="729"/>
                    <a:pt x="470" y="729"/>
                    <a:pt x="470" y="729"/>
                  </a:cubicBezTo>
                  <a:cubicBezTo>
                    <a:pt x="439" y="698"/>
                    <a:pt x="420" y="657"/>
                    <a:pt x="420" y="610"/>
                  </a:cubicBezTo>
                  <a:cubicBezTo>
                    <a:pt x="420" y="564"/>
                    <a:pt x="439" y="522"/>
                    <a:pt x="470" y="492"/>
                  </a:cubicBezTo>
                  <a:cubicBezTo>
                    <a:pt x="470" y="491"/>
                    <a:pt x="470" y="491"/>
                    <a:pt x="470" y="491"/>
                  </a:cubicBezTo>
                  <a:cubicBezTo>
                    <a:pt x="500" y="461"/>
                    <a:pt x="542" y="442"/>
                    <a:pt x="588" y="442"/>
                  </a:cubicBezTo>
                  <a:close/>
                  <a:moveTo>
                    <a:pt x="627" y="504"/>
                  </a:moveTo>
                  <a:cubicBezTo>
                    <a:pt x="627" y="504"/>
                    <a:pt x="627" y="504"/>
                    <a:pt x="627" y="504"/>
                  </a:cubicBezTo>
                  <a:cubicBezTo>
                    <a:pt x="615" y="500"/>
                    <a:pt x="602" y="498"/>
                    <a:pt x="588" y="498"/>
                  </a:cubicBezTo>
                  <a:cubicBezTo>
                    <a:pt x="557" y="498"/>
                    <a:pt x="530" y="510"/>
                    <a:pt x="509" y="531"/>
                  </a:cubicBezTo>
                  <a:cubicBezTo>
                    <a:pt x="509" y="531"/>
                    <a:pt x="509" y="531"/>
                    <a:pt x="509" y="531"/>
                  </a:cubicBezTo>
                  <a:cubicBezTo>
                    <a:pt x="489" y="551"/>
                    <a:pt x="476" y="579"/>
                    <a:pt x="476" y="610"/>
                  </a:cubicBezTo>
                  <a:cubicBezTo>
                    <a:pt x="476" y="641"/>
                    <a:pt x="489" y="669"/>
                    <a:pt x="509" y="689"/>
                  </a:cubicBezTo>
                  <a:cubicBezTo>
                    <a:pt x="530" y="709"/>
                    <a:pt x="557" y="722"/>
                    <a:pt x="588" y="722"/>
                  </a:cubicBezTo>
                  <a:cubicBezTo>
                    <a:pt x="620" y="722"/>
                    <a:pt x="647" y="709"/>
                    <a:pt x="667" y="690"/>
                  </a:cubicBezTo>
                  <a:cubicBezTo>
                    <a:pt x="667" y="689"/>
                    <a:pt x="667" y="689"/>
                    <a:pt x="667" y="689"/>
                  </a:cubicBezTo>
                  <a:cubicBezTo>
                    <a:pt x="688" y="669"/>
                    <a:pt x="700" y="641"/>
                    <a:pt x="700" y="610"/>
                  </a:cubicBezTo>
                  <a:cubicBezTo>
                    <a:pt x="700" y="596"/>
                    <a:pt x="698" y="583"/>
                    <a:pt x="694" y="571"/>
                  </a:cubicBezTo>
                  <a:cubicBezTo>
                    <a:pt x="621" y="643"/>
                    <a:pt x="621" y="643"/>
                    <a:pt x="621" y="643"/>
                  </a:cubicBezTo>
                  <a:cubicBezTo>
                    <a:pt x="603" y="661"/>
                    <a:pt x="574" y="661"/>
                    <a:pt x="555" y="643"/>
                  </a:cubicBezTo>
                  <a:cubicBezTo>
                    <a:pt x="537" y="625"/>
                    <a:pt x="537" y="595"/>
                    <a:pt x="555" y="577"/>
                  </a:cubicBezTo>
                  <a:cubicBezTo>
                    <a:pt x="627" y="504"/>
                    <a:pt x="627" y="504"/>
                    <a:pt x="627" y="504"/>
                  </a:cubicBezTo>
                  <a:close/>
                  <a:moveTo>
                    <a:pt x="997" y="85"/>
                  </a:moveTo>
                  <a:cubicBezTo>
                    <a:pt x="997" y="85"/>
                    <a:pt x="997" y="85"/>
                    <a:pt x="997" y="85"/>
                  </a:cubicBezTo>
                  <a:cubicBezTo>
                    <a:pt x="890" y="192"/>
                    <a:pt x="890" y="192"/>
                    <a:pt x="890" y="192"/>
                  </a:cubicBezTo>
                  <a:cubicBezTo>
                    <a:pt x="907" y="252"/>
                    <a:pt x="907" y="252"/>
                    <a:pt x="907" y="252"/>
                  </a:cubicBezTo>
                  <a:cubicBezTo>
                    <a:pt x="1014" y="145"/>
                    <a:pt x="1014" y="145"/>
                    <a:pt x="1014" y="145"/>
                  </a:cubicBezTo>
                  <a:cubicBezTo>
                    <a:pt x="997" y="85"/>
                    <a:pt x="997" y="85"/>
                    <a:pt x="997" y="85"/>
                  </a:cubicBezTo>
                  <a:close/>
                  <a:moveTo>
                    <a:pt x="1053" y="184"/>
                  </a:moveTo>
                  <a:cubicBezTo>
                    <a:pt x="1053" y="184"/>
                    <a:pt x="1053" y="184"/>
                    <a:pt x="1053" y="184"/>
                  </a:cubicBezTo>
                  <a:cubicBezTo>
                    <a:pt x="947" y="292"/>
                    <a:pt x="947" y="292"/>
                    <a:pt x="947" y="292"/>
                  </a:cubicBezTo>
                  <a:cubicBezTo>
                    <a:pt x="1006" y="308"/>
                    <a:pt x="1006" y="308"/>
                    <a:pt x="1006" y="308"/>
                  </a:cubicBezTo>
                  <a:cubicBezTo>
                    <a:pt x="1113" y="201"/>
                    <a:pt x="1113" y="201"/>
                    <a:pt x="1113" y="201"/>
                  </a:cubicBezTo>
                  <a:cubicBezTo>
                    <a:pt x="1053" y="184"/>
                    <a:pt x="1053" y="184"/>
                    <a:pt x="1053" y="184"/>
                  </a:cubicBezTo>
                  <a:close/>
                </a:path>
              </a:pathLst>
            </a:custGeom>
            <a:solidFill>
              <a:srgbClr val="C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zh-CN" altLang="en-US" sz="1400" ker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</p:grpSp>
      <p:sp>
        <p:nvSpPr>
          <p:cNvPr id="31" name="object 2"/>
          <p:cNvSpPr txBox="1"/>
          <p:nvPr/>
        </p:nvSpPr>
        <p:spPr>
          <a:xfrm>
            <a:off x="2059389" y="1147524"/>
            <a:ext cx="2981096" cy="5206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spcBef>
                <a:spcPts val="100"/>
              </a:spcBef>
            </a:pPr>
            <a:r>
              <a:rPr sz="1600" b="1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坚持聚焦战略</a:t>
            </a:r>
          </a:p>
          <a:p>
            <a:pPr marL="12700" algn="ctr">
              <a:spcBef>
                <a:spcPts val="565"/>
              </a:spcBef>
            </a:pPr>
            <a:r>
              <a:rPr lang="zh-CN" altLang="en-US" sz="1200" spc="-5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聚焦信息的传送、分发、存储、处理和交互</a:t>
            </a:r>
            <a:endParaRPr sz="1200" spc="-5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7" name="副标题 1">
            <a:extLst>
              <a:ext uri="{FF2B5EF4-FFF2-40B4-BE49-F238E27FC236}">
                <a16:creationId xmlns:a16="http://schemas.microsoft.com/office/drawing/2014/main" id="{037D6FE6-2CE1-485B-8B1D-D2B9E1AD22C0}"/>
              </a:ext>
            </a:extLst>
          </p:cNvPr>
          <p:cNvSpPr txBox="1">
            <a:spLocks/>
          </p:cNvSpPr>
          <p:nvPr/>
        </p:nvSpPr>
        <p:spPr>
          <a:xfrm>
            <a:off x="723900" y="447675"/>
            <a:ext cx="107315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96950" indent="-296950" algn="l" defTabSz="1187798" rtl="0" eaLnBrk="1" latinLnBrk="0" hangingPunct="1">
              <a:lnSpc>
                <a:spcPct val="90000"/>
              </a:lnSpc>
              <a:spcBef>
                <a:spcPts val="1299"/>
              </a:spcBef>
              <a:buFont typeface="Arial" panose="020B0604020202020204" pitchFamily="34" charset="0"/>
              <a:buChar char="•"/>
              <a:defRPr sz="36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90849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84748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5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78648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72547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6447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60346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54245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48144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持续成长的驱动力</a:t>
            </a:r>
          </a:p>
        </p:txBody>
      </p:sp>
    </p:spTree>
    <p:extLst>
      <p:ext uri="{BB962C8B-B14F-4D97-AF65-F5344CB8AC3E}">
        <p14:creationId xmlns:p14="http://schemas.microsoft.com/office/powerpoint/2010/main" val="36986621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2465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0" y="0"/>
            <a:ext cx="12196763" cy="6858000"/>
          </a:xfrm>
          <a:prstGeom prst="rect">
            <a:avLst/>
          </a:prstGeom>
          <a:solidFill>
            <a:schemeClr val="tx2"/>
          </a:solidFill>
          <a:ln w="285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zh-CN" altLang="en-US" kern="0">
              <a:solidFill>
                <a:prstClr val="white"/>
              </a:solidFill>
              <a:latin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5692877" y="2512075"/>
            <a:ext cx="5132439" cy="1582994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zh-CN" altLang="en-US" kern="0">
              <a:solidFill>
                <a:prstClr val="white"/>
              </a:solidFill>
              <a:latin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5854534" y="2889405"/>
            <a:ext cx="4829575" cy="835742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r>
              <a:rPr lang="zh-CN" altLang="en-US" sz="3600" kern="0" dirty="0">
                <a:solidFill>
                  <a:prstClr val="black"/>
                </a:solidFill>
                <a:latin typeface="微软雅黑" panose="020B0503020204020204" pitchFamily="34" charset="-122"/>
                <a:sym typeface="微软雅黑" panose="020B0503020204020204" pitchFamily="34" charset="-122"/>
              </a:rPr>
              <a:t>公司概况</a:t>
            </a: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66806" y="1805477"/>
            <a:ext cx="4122789" cy="3126658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443496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组合 42">
            <a:extLst>
              <a:ext uri="{FF2B5EF4-FFF2-40B4-BE49-F238E27FC236}">
                <a16:creationId xmlns:a16="http://schemas.microsoft.com/office/drawing/2014/main" id="{B60315DC-8C70-40D5-92EB-F977DA1BD369}"/>
              </a:ext>
            </a:extLst>
          </p:cNvPr>
          <p:cNvGrpSpPr/>
          <p:nvPr/>
        </p:nvGrpSpPr>
        <p:grpSpPr>
          <a:xfrm>
            <a:off x="6913756" y="2613002"/>
            <a:ext cx="4541644" cy="430887"/>
            <a:chOff x="915840" y="4398542"/>
            <a:chExt cx="3148017" cy="319825"/>
          </a:xfrm>
        </p:grpSpPr>
        <p:sp>
          <p:nvSpPr>
            <p:cNvPr id="44" name="梯形 43">
              <a:extLst>
                <a:ext uri="{FF2B5EF4-FFF2-40B4-BE49-F238E27FC236}">
                  <a16:creationId xmlns:a16="http://schemas.microsoft.com/office/drawing/2014/main" id="{D69AEFA5-3826-412A-A143-1972010B580C}"/>
                </a:ext>
              </a:extLst>
            </p:cNvPr>
            <p:cNvSpPr/>
            <p:nvPr/>
          </p:nvSpPr>
          <p:spPr>
            <a:xfrm>
              <a:off x="970951" y="4411242"/>
              <a:ext cx="3037796" cy="307125"/>
            </a:xfrm>
            <a:prstGeom prst="trapezoid">
              <a:avLst>
                <a:gd name="adj" fmla="val 155380"/>
              </a:avLst>
            </a:prstGeom>
            <a:gradFill>
              <a:gsLst>
                <a:gs pos="100000">
                  <a:schemeClr val="bg1">
                    <a:lumMod val="60000"/>
                    <a:lumOff val="40000"/>
                    <a:alpha val="10000"/>
                  </a:schemeClr>
                </a:gs>
                <a:gs pos="0">
                  <a:schemeClr val="bg1">
                    <a:lumMod val="60000"/>
                    <a:lumOff val="40000"/>
                    <a:alpha val="0"/>
                  </a:schemeClr>
                </a:gs>
              </a:gsLst>
              <a:lin ang="5400000" scaled="0"/>
            </a:gradFill>
            <a:ln w="3175">
              <a:gradFill>
                <a:gsLst>
                  <a:gs pos="100000">
                    <a:schemeClr val="bg1">
                      <a:lumMod val="60000"/>
                      <a:lumOff val="40000"/>
                      <a:alpha val="15000"/>
                    </a:schemeClr>
                  </a:gs>
                  <a:gs pos="0">
                    <a:schemeClr val="bg1">
                      <a:lumMod val="60000"/>
                      <a:lumOff val="40000"/>
                      <a:alpha val="0"/>
                    </a:schemeClr>
                  </a:gs>
                </a:gsLst>
                <a:lin ang="5400000" scaled="0"/>
              </a:gra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77"/>
              <a:endParaRPr lang="zh-CN" altLang="en-US" dirty="0">
                <a:solidFill>
                  <a:srgbClr val="1D1D1A"/>
                </a:solidFill>
                <a:cs typeface="Arial" pitchFamily="34" charset="0"/>
              </a:endParaRPr>
            </a:p>
          </p:txBody>
        </p:sp>
        <p:sp>
          <p:nvSpPr>
            <p:cNvPr id="45" name="梯形 44">
              <a:extLst>
                <a:ext uri="{FF2B5EF4-FFF2-40B4-BE49-F238E27FC236}">
                  <a16:creationId xmlns:a16="http://schemas.microsoft.com/office/drawing/2014/main" id="{7E568FCF-E321-4F57-8CA9-4F5523CDF76B}"/>
                </a:ext>
              </a:extLst>
            </p:cNvPr>
            <p:cNvSpPr/>
            <p:nvPr/>
          </p:nvSpPr>
          <p:spPr>
            <a:xfrm>
              <a:off x="915840" y="4398542"/>
              <a:ext cx="3148017" cy="256419"/>
            </a:xfrm>
            <a:prstGeom prst="trapezoid">
              <a:avLst>
                <a:gd name="adj" fmla="val 169425"/>
              </a:avLst>
            </a:prstGeom>
            <a:gradFill>
              <a:gsLst>
                <a:gs pos="100000">
                  <a:schemeClr val="bg1">
                    <a:lumMod val="60000"/>
                    <a:lumOff val="40000"/>
                    <a:alpha val="20000"/>
                  </a:schemeClr>
                </a:gs>
                <a:gs pos="0">
                  <a:schemeClr val="bg1">
                    <a:lumMod val="60000"/>
                    <a:lumOff val="40000"/>
                    <a:alpha val="0"/>
                  </a:schemeClr>
                </a:gs>
              </a:gsLst>
              <a:lin ang="5400000" scaled="0"/>
            </a:gradFill>
            <a:ln w="3175">
              <a:gradFill>
                <a:gsLst>
                  <a:gs pos="100000">
                    <a:schemeClr val="bg1">
                      <a:lumMod val="60000"/>
                      <a:lumOff val="40000"/>
                      <a:alpha val="30000"/>
                    </a:schemeClr>
                  </a:gs>
                  <a:gs pos="0">
                    <a:schemeClr val="bg1">
                      <a:lumMod val="60000"/>
                      <a:lumOff val="40000"/>
                      <a:alpha val="0"/>
                    </a:schemeClr>
                  </a:gs>
                </a:gsLst>
                <a:lin ang="5400000" scaled="0"/>
              </a:gra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77"/>
              <a:endParaRPr lang="zh-CN" altLang="en-US" dirty="0">
                <a:solidFill>
                  <a:srgbClr val="1D1D1A"/>
                </a:solidFill>
                <a:cs typeface="Arial" pitchFamily="34" charset="0"/>
              </a:endParaRPr>
            </a:p>
          </p:txBody>
        </p:sp>
      </p:grpSp>
      <p:grpSp>
        <p:nvGrpSpPr>
          <p:cNvPr id="46" name="组合 45">
            <a:extLst>
              <a:ext uri="{FF2B5EF4-FFF2-40B4-BE49-F238E27FC236}">
                <a16:creationId xmlns:a16="http://schemas.microsoft.com/office/drawing/2014/main" id="{D9A51D25-11D9-457B-9BEC-10094959D8B4}"/>
              </a:ext>
            </a:extLst>
          </p:cNvPr>
          <p:cNvGrpSpPr/>
          <p:nvPr/>
        </p:nvGrpSpPr>
        <p:grpSpPr>
          <a:xfrm>
            <a:off x="6913756" y="3608795"/>
            <a:ext cx="4541644" cy="430887"/>
            <a:chOff x="915840" y="4398542"/>
            <a:chExt cx="3148017" cy="319825"/>
          </a:xfrm>
        </p:grpSpPr>
        <p:sp>
          <p:nvSpPr>
            <p:cNvPr id="47" name="梯形 46">
              <a:extLst>
                <a:ext uri="{FF2B5EF4-FFF2-40B4-BE49-F238E27FC236}">
                  <a16:creationId xmlns:a16="http://schemas.microsoft.com/office/drawing/2014/main" id="{F7E67F9C-028B-40E1-BE33-387ECC6D8F1C}"/>
                </a:ext>
              </a:extLst>
            </p:cNvPr>
            <p:cNvSpPr/>
            <p:nvPr/>
          </p:nvSpPr>
          <p:spPr>
            <a:xfrm>
              <a:off x="970951" y="4411242"/>
              <a:ext cx="3037796" cy="307125"/>
            </a:xfrm>
            <a:prstGeom prst="trapezoid">
              <a:avLst>
                <a:gd name="adj" fmla="val 155380"/>
              </a:avLst>
            </a:prstGeom>
            <a:gradFill>
              <a:gsLst>
                <a:gs pos="100000">
                  <a:schemeClr val="bg1">
                    <a:lumMod val="60000"/>
                    <a:lumOff val="40000"/>
                    <a:alpha val="10000"/>
                  </a:schemeClr>
                </a:gs>
                <a:gs pos="0">
                  <a:schemeClr val="bg1">
                    <a:lumMod val="60000"/>
                    <a:lumOff val="40000"/>
                    <a:alpha val="0"/>
                  </a:schemeClr>
                </a:gs>
              </a:gsLst>
              <a:lin ang="5400000" scaled="0"/>
            </a:gradFill>
            <a:ln w="3175">
              <a:gradFill>
                <a:gsLst>
                  <a:gs pos="100000">
                    <a:schemeClr val="bg1">
                      <a:lumMod val="60000"/>
                      <a:lumOff val="40000"/>
                      <a:alpha val="15000"/>
                    </a:schemeClr>
                  </a:gs>
                  <a:gs pos="0">
                    <a:schemeClr val="bg1">
                      <a:lumMod val="60000"/>
                      <a:lumOff val="40000"/>
                      <a:alpha val="0"/>
                    </a:schemeClr>
                  </a:gs>
                </a:gsLst>
                <a:lin ang="5400000" scaled="0"/>
              </a:gra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77"/>
              <a:endParaRPr lang="zh-CN" altLang="en-US" dirty="0">
                <a:solidFill>
                  <a:srgbClr val="1D1D1A"/>
                </a:solidFill>
                <a:cs typeface="Arial" pitchFamily="34" charset="0"/>
              </a:endParaRPr>
            </a:p>
          </p:txBody>
        </p:sp>
        <p:sp>
          <p:nvSpPr>
            <p:cNvPr id="48" name="梯形 47">
              <a:extLst>
                <a:ext uri="{FF2B5EF4-FFF2-40B4-BE49-F238E27FC236}">
                  <a16:creationId xmlns:a16="http://schemas.microsoft.com/office/drawing/2014/main" id="{F4D59D44-FCD8-45EE-8A55-8C3B1E4FAFA2}"/>
                </a:ext>
              </a:extLst>
            </p:cNvPr>
            <p:cNvSpPr/>
            <p:nvPr/>
          </p:nvSpPr>
          <p:spPr>
            <a:xfrm>
              <a:off x="915840" y="4398542"/>
              <a:ext cx="3148017" cy="256419"/>
            </a:xfrm>
            <a:prstGeom prst="trapezoid">
              <a:avLst>
                <a:gd name="adj" fmla="val 169425"/>
              </a:avLst>
            </a:prstGeom>
            <a:gradFill>
              <a:gsLst>
                <a:gs pos="100000">
                  <a:schemeClr val="bg1">
                    <a:lumMod val="60000"/>
                    <a:lumOff val="40000"/>
                    <a:alpha val="20000"/>
                  </a:schemeClr>
                </a:gs>
                <a:gs pos="0">
                  <a:schemeClr val="bg1">
                    <a:lumMod val="60000"/>
                    <a:lumOff val="40000"/>
                    <a:alpha val="0"/>
                  </a:schemeClr>
                </a:gs>
              </a:gsLst>
              <a:lin ang="5400000" scaled="0"/>
            </a:gradFill>
            <a:ln w="3175">
              <a:gradFill>
                <a:gsLst>
                  <a:gs pos="100000">
                    <a:schemeClr val="bg1">
                      <a:lumMod val="60000"/>
                      <a:lumOff val="40000"/>
                      <a:alpha val="30000"/>
                    </a:schemeClr>
                  </a:gs>
                  <a:gs pos="0">
                    <a:schemeClr val="bg1">
                      <a:lumMod val="60000"/>
                      <a:lumOff val="40000"/>
                      <a:alpha val="0"/>
                    </a:schemeClr>
                  </a:gs>
                </a:gsLst>
                <a:lin ang="5400000" scaled="0"/>
              </a:gra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77"/>
              <a:endParaRPr lang="zh-CN" altLang="en-US" dirty="0">
                <a:solidFill>
                  <a:srgbClr val="1D1D1A"/>
                </a:solidFill>
                <a:cs typeface="Arial" pitchFamily="34" charset="0"/>
              </a:endParaRPr>
            </a:p>
          </p:txBody>
        </p:sp>
      </p:grpSp>
      <p:grpSp>
        <p:nvGrpSpPr>
          <p:cNvPr id="51" name="组合 50">
            <a:extLst>
              <a:ext uri="{FF2B5EF4-FFF2-40B4-BE49-F238E27FC236}">
                <a16:creationId xmlns:a16="http://schemas.microsoft.com/office/drawing/2014/main" id="{A3CA8A63-4002-47B7-BA22-1B1BBF30223B}"/>
              </a:ext>
            </a:extLst>
          </p:cNvPr>
          <p:cNvGrpSpPr/>
          <p:nvPr/>
        </p:nvGrpSpPr>
        <p:grpSpPr>
          <a:xfrm>
            <a:off x="6913756" y="4604588"/>
            <a:ext cx="4541644" cy="430887"/>
            <a:chOff x="915840" y="4398542"/>
            <a:chExt cx="3148017" cy="319825"/>
          </a:xfrm>
        </p:grpSpPr>
        <p:sp>
          <p:nvSpPr>
            <p:cNvPr id="52" name="梯形 51">
              <a:extLst>
                <a:ext uri="{FF2B5EF4-FFF2-40B4-BE49-F238E27FC236}">
                  <a16:creationId xmlns:a16="http://schemas.microsoft.com/office/drawing/2014/main" id="{9A7FC6A7-F61F-4B3C-A738-8990168762A0}"/>
                </a:ext>
              </a:extLst>
            </p:cNvPr>
            <p:cNvSpPr/>
            <p:nvPr/>
          </p:nvSpPr>
          <p:spPr>
            <a:xfrm>
              <a:off x="970951" y="4411242"/>
              <a:ext cx="3037796" cy="307125"/>
            </a:xfrm>
            <a:prstGeom prst="trapezoid">
              <a:avLst>
                <a:gd name="adj" fmla="val 155380"/>
              </a:avLst>
            </a:prstGeom>
            <a:gradFill>
              <a:gsLst>
                <a:gs pos="100000">
                  <a:schemeClr val="bg1">
                    <a:lumMod val="60000"/>
                    <a:lumOff val="40000"/>
                    <a:alpha val="10000"/>
                  </a:schemeClr>
                </a:gs>
                <a:gs pos="0">
                  <a:schemeClr val="bg1">
                    <a:lumMod val="60000"/>
                    <a:lumOff val="40000"/>
                    <a:alpha val="0"/>
                  </a:schemeClr>
                </a:gs>
              </a:gsLst>
              <a:lin ang="5400000" scaled="0"/>
            </a:gradFill>
            <a:ln w="3175">
              <a:gradFill>
                <a:gsLst>
                  <a:gs pos="100000">
                    <a:schemeClr val="bg1">
                      <a:lumMod val="60000"/>
                      <a:lumOff val="40000"/>
                      <a:alpha val="15000"/>
                    </a:schemeClr>
                  </a:gs>
                  <a:gs pos="0">
                    <a:schemeClr val="bg1">
                      <a:lumMod val="60000"/>
                      <a:lumOff val="40000"/>
                      <a:alpha val="0"/>
                    </a:schemeClr>
                  </a:gs>
                </a:gsLst>
                <a:lin ang="5400000" scaled="0"/>
              </a:gra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77"/>
              <a:endParaRPr lang="zh-CN" altLang="en-US" dirty="0">
                <a:solidFill>
                  <a:srgbClr val="1D1D1A"/>
                </a:solidFill>
                <a:cs typeface="Arial" pitchFamily="34" charset="0"/>
              </a:endParaRPr>
            </a:p>
          </p:txBody>
        </p:sp>
        <p:sp>
          <p:nvSpPr>
            <p:cNvPr id="53" name="梯形 52">
              <a:extLst>
                <a:ext uri="{FF2B5EF4-FFF2-40B4-BE49-F238E27FC236}">
                  <a16:creationId xmlns:a16="http://schemas.microsoft.com/office/drawing/2014/main" id="{65E8B167-28CC-472F-BB08-17E443DA2550}"/>
                </a:ext>
              </a:extLst>
            </p:cNvPr>
            <p:cNvSpPr/>
            <p:nvPr/>
          </p:nvSpPr>
          <p:spPr>
            <a:xfrm>
              <a:off x="915840" y="4398542"/>
              <a:ext cx="3148017" cy="256419"/>
            </a:xfrm>
            <a:prstGeom prst="trapezoid">
              <a:avLst>
                <a:gd name="adj" fmla="val 169425"/>
              </a:avLst>
            </a:prstGeom>
            <a:gradFill>
              <a:gsLst>
                <a:gs pos="100000">
                  <a:schemeClr val="bg1">
                    <a:lumMod val="60000"/>
                    <a:lumOff val="40000"/>
                    <a:alpha val="20000"/>
                  </a:schemeClr>
                </a:gs>
                <a:gs pos="0">
                  <a:schemeClr val="bg1">
                    <a:lumMod val="60000"/>
                    <a:lumOff val="40000"/>
                    <a:alpha val="0"/>
                  </a:schemeClr>
                </a:gs>
              </a:gsLst>
              <a:lin ang="5400000" scaled="0"/>
            </a:gradFill>
            <a:ln w="3175">
              <a:gradFill>
                <a:gsLst>
                  <a:gs pos="100000">
                    <a:schemeClr val="bg1">
                      <a:lumMod val="60000"/>
                      <a:lumOff val="40000"/>
                      <a:alpha val="30000"/>
                    </a:schemeClr>
                  </a:gs>
                  <a:gs pos="0">
                    <a:schemeClr val="bg1">
                      <a:lumMod val="60000"/>
                      <a:lumOff val="40000"/>
                      <a:alpha val="0"/>
                    </a:schemeClr>
                  </a:gs>
                </a:gsLst>
                <a:lin ang="5400000" scaled="0"/>
              </a:gra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77"/>
              <a:endParaRPr lang="zh-CN" altLang="en-US" dirty="0">
                <a:solidFill>
                  <a:srgbClr val="1D1D1A"/>
                </a:solidFill>
                <a:cs typeface="Arial" pitchFamily="34" charset="0"/>
              </a:endParaRPr>
            </a:p>
          </p:txBody>
        </p:sp>
      </p:grpSp>
      <p:grpSp>
        <p:nvGrpSpPr>
          <p:cNvPr id="54" name="组合 53">
            <a:extLst>
              <a:ext uri="{FF2B5EF4-FFF2-40B4-BE49-F238E27FC236}">
                <a16:creationId xmlns:a16="http://schemas.microsoft.com/office/drawing/2014/main" id="{D14FEA1F-B7AD-46F9-B28F-BEBB597E3B43}"/>
              </a:ext>
            </a:extLst>
          </p:cNvPr>
          <p:cNvGrpSpPr/>
          <p:nvPr/>
        </p:nvGrpSpPr>
        <p:grpSpPr>
          <a:xfrm>
            <a:off x="6913756" y="5600383"/>
            <a:ext cx="4541644" cy="430887"/>
            <a:chOff x="915840" y="4398542"/>
            <a:chExt cx="3148017" cy="319825"/>
          </a:xfrm>
        </p:grpSpPr>
        <p:sp>
          <p:nvSpPr>
            <p:cNvPr id="56" name="梯形 55">
              <a:extLst>
                <a:ext uri="{FF2B5EF4-FFF2-40B4-BE49-F238E27FC236}">
                  <a16:creationId xmlns:a16="http://schemas.microsoft.com/office/drawing/2014/main" id="{63E3E6C7-98B9-49F4-BB8A-5B63C823EBFA}"/>
                </a:ext>
              </a:extLst>
            </p:cNvPr>
            <p:cNvSpPr/>
            <p:nvPr/>
          </p:nvSpPr>
          <p:spPr>
            <a:xfrm>
              <a:off x="970951" y="4411242"/>
              <a:ext cx="3037796" cy="307125"/>
            </a:xfrm>
            <a:prstGeom prst="trapezoid">
              <a:avLst>
                <a:gd name="adj" fmla="val 155380"/>
              </a:avLst>
            </a:prstGeom>
            <a:gradFill>
              <a:gsLst>
                <a:gs pos="100000">
                  <a:schemeClr val="bg1">
                    <a:lumMod val="60000"/>
                    <a:lumOff val="40000"/>
                    <a:alpha val="10000"/>
                  </a:schemeClr>
                </a:gs>
                <a:gs pos="0">
                  <a:schemeClr val="bg1">
                    <a:lumMod val="60000"/>
                    <a:lumOff val="40000"/>
                    <a:alpha val="0"/>
                  </a:schemeClr>
                </a:gs>
              </a:gsLst>
              <a:lin ang="5400000" scaled="0"/>
            </a:gradFill>
            <a:ln w="3175">
              <a:gradFill>
                <a:gsLst>
                  <a:gs pos="100000">
                    <a:schemeClr val="bg1">
                      <a:lumMod val="60000"/>
                      <a:lumOff val="40000"/>
                      <a:alpha val="15000"/>
                    </a:schemeClr>
                  </a:gs>
                  <a:gs pos="0">
                    <a:schemeClr val="bg1">
                      <a:lumMod val="60000"/>
                      <a:lumOff val="40000"/>
                      <a:alpha val="0"/>
                    </a:schemeClr>
                  </a:gs>
                </a:gsLst>
                <a:lin ang="5400000" scaled="0"/>
              </a:gra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77"/>
              <a:endParaRPr lang="zh-CN" altLang="en-US" dirty="0">
                <a:solidFill>
                  <a:srgbClr val="1D1D1A"/>
                </a:solidFill>
                <a:cs typeface="Arial" pitchFamily="34" charset="0"/>
              </a:endParaRPr>
            </a:p>
          </p:txBody>
        </p:sp>
        <p:sp>
          <p:nvSpPr>
            <p:cNvPr id="57" name="梯形 56">
              <a:extLst>
                <a:ext uri="{FF2B5EF4-FFF2-40B4-BE49-F238E27FC236}">
                  <a16:creationId xmlns:a16="http://schemas.microsoft.com/office/drawing/2014/main" id="{44AF4C92-DE2F-4392-A641-86979D2A8B58}"/>
                </a:ext>
              </a:extLst>
            </p:cNvPr>
            <p:cNvSpPr/>
            <p:nvPr/>
          </p:nvSpPr>
          <p:spPr>
            <a:xfrm>
              <a:off x="915840" y="4398542"/>
              <a:ext cx="3148017" cy="256419"/>
            </a:xfrm>
            <a:prstGeom prst="trapezoid">
              <a:avLst>
                <a:gd name="adj" fmla="val 169425"/>
              </a:avLst>
            </a:prstGeom>
            <a:gradFill>
              <a:gsLst>
                <a:gs pos="100000">
                  <a:schemeClr val="bg1">
                    <a:lumMod val="60000"/>
                    <a:lumOff val="40000"/>
                    <a:alpha val="20000"/>
                  </a:schemeClr>
                </a:gs>
                <a:gs pos="0">
                  <a:schemeClr val="bg1">
                    <a:lumMod val="60000"/>
                    <a:lumOff val="40000"/>
                    <a:alpha val="0"/>
                  </a:schemeClr>
                </a:gs>
              </a:gsLst>
              <a:lin ang="5400000" scaled="0"/>
            </a:gradFill>
            <a:ln w="3175">
              <a:gradFill>
                <a:gsLst>
                  <a:gs pos="100000">
                    <a:schemeClr val="bg1">
                      <a:lumMod val="60000"/>
                      <a:lumOff val="40000"/>
                      <a:alpha val="30000"/>
                    </a:schemeClr>
                  </a:gs>
                  <a:gs pos="0">
                    <a:schemeClr val="bg1">
                      <a:lumMod val="60000"/>
                      <a:lumOff val="40000"/>
                      <a:alpha val="0"/>
                    </a:schemeClr>
                  </a:gs>
                </a:gsLst>
                <a:lin ang="5400000" scaled="0"/>
              </a:gra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77"/>
              <a:endParaRPr lang="zh-CN" altLang="en-US" dirty="0">
                <a:solidFill>
                  <a:srgbClr val="1D1D1A"/>
                </a:solidFill>
                <a:cs typeface="Arial" pitchFamily="34" charset="0"/>
              </a:endParaRPr>
            </a:p>
          </p:txBody>
        </p:sp>
      </p:grpSp>
      <p:grpSp>
        <p:nvGrpSpPr>
          <p:cNvPr id="38" name="组合 37">
            <a:extLst>
              <a:ext uri="{FF2B5EF4-FFF2-40B4-BE49-F238E27FC236}">
                <a16:creationId xmlns:a16="http://schemas.microsoft.com/office/drawing/2014/main" id="{4E96A6CE-1F27-48E7-924A-D1D83D9B9792}"/>
              </a:ext>
            </a:extLst>
          </p:cNvPr>
          <p:cNvGrpSpPr/>
          <p:nvPr/>
        </p:nvGrpSpPr>
        <p:grpSpPr>
          <a:xfrm>
            <a:off x="6913756" y="1617209"/>
            <a:ext cx="4541644" cy="430887"/>
            <a:chOff x="915840" y="4398542"/>
            <a:chExt cx="3148017" cy="319825"/>
          </a:xfrm>
        </p:grpSpPr>
        <p:sp>
          <p:nvSpPr>
            <p:cNvPr id="41" name="梯形 40">
              <a:extLst>
                <a:ext uri="{FF2B5EF4-FFF2-40B4-BE49-F238E27FC236}">
                  <a16:creationId xmlns:a16="http://schemas.microsoft.com/office/drawing/2014/main" id="{5BE4DD66-BB3F-40A3-91E0-18C24297616F}"/>
                </a:ext>
              </a:extLst>
            </p:cNvPr>
            <p:cNvSpPr/>
            <p:nvPr/>
          </p:nvSpPr>
          <p:spPr>
            <a:xfrm>
              <a:off x="970951" y="4411242"/>
              <a:ext cx="3037796" cy="307125"/>
            </a:xfrm>
            <a:prstGeom prst="trapezoid">
              <a:avLst>
                <a:gd name="adj" fmla="val 155380"/>
              </a:avLst>
            </a:prstGeom>
            <a:gradFill>
              <a:gsLst>
                <a:gs pos="100000">
                  <a:schemeClr val="bg1">
                    <a:lumMod val="60000"/>
                    <a:lumOff val="40000"/>
                    <a:alpha val="10000"/>
                  </a:schemeClr>
                </a:gs>
                <a:gs pos="0">
                  <a:schemeClr val="bg1">
                    <a:lumMod val="60000"/>
                    <a:lumOff val="40000"/>
                    <a:alpha val="0"/>
                  </a:schemeClr>
                </a:gs>
              </a:gsLst>
              <a:lin ang="5400000" scaled="0"/>
            </a:gradFill>
            <a:ln w="3175">
              <a:gradFill>
                <a:gsLst>
                  <a:gs pos="100000">
                    <a:schemeClr val="bg1">
                      <a:lumMod val="60000"/>
                      <a:lumOff val="40000"/>
                      <a:alpha val="15000"/>
                    </a:schemeClr>
                  </a:gs>
                  <a:gs pos="0">
                    <a:schemeClr val="bg1">
                      <a:lumMod val="60000"/>
                      <a:lumOff val="40000"/>
                      <a:alpha val="0"/>
                    </a:schemeClr>
                  </a:gs>
                </a:gsLst>
                <a:lin ang="5400000" scaled="0"/>
              </a:gra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77"/>
              <a:endParaRPr lang="zh-CN" altLang="en-US" dirty="0">
                <a:solidFill>
                  <a:srgbClr val="1D1D1A"/>
                </a:solidFill>
                <a:cs typeface="Arial" pitchFamily="34" charset="0"/>
              </a:endParaRPr>
            </a:p>
          </p:txBody>
        </p:sp>
        <p:sp>
          <p:nvSpPr>
            <p:cNvPr id="42" name="梯形 41">
              <a:extLst>
                <a:ext uri="{FF2B5EF4-FFF2-40B4-BE49-F238E27FC236}">
                  <a16:creationId xmlns:a16="http://schemas.microsoft.com/office/drawing/2014/main" id="{E83B0666-DD86-47BC-B9D5-AFEFFE7F6084}"/>
                </a:ext>
              </a:extLst>
            </p:cNvPr>
            <p:cNvSpPr/>
            <p:nvPr/>
          </p:nvSpPr>
          <p:spPr>
            <a:xfrm>
              <a:off x="915840" y="4398542"/>
              <a:ext cx="3148017" cy="256419"/>
            </a:xfrm>
            <a:prstGeom prst="trapezoid">
              <a:avLst>
                <a:gd name="adj" fmla="val 169425"/>
              </a:avLst>
            </a:prstGeom>
            <a:gradFill>
              <a:gsLst>
                <a:gs pos="100000">
                  <a:schemeClr val="bg1">
                    <a:lumMod val="60000"/>
                    <a:lumOff val="40000"/>
                    <a:alpha val="20000"/>
                  </a:schemeClr>
                </a:gs>
                <a:gs pos="0">
                  <a:schemeClr val="bg1">
                    <a:lumMod val="60000"/>
                    <a:lumOff val="40000"/>
                    <a:alpha val="0"/>
                  </a:schemeClr>
                </a:gs>
              </a:gsLst>
              <a:lin ang="5400000" scaled="0"/>
            </a:gradFill>
            <a:ln w="3175">
              <a:gradFill>
                <a:gsLst>
                  <a:gs pos="100000">
                    <a:schemeClr val="bg1">
                      <a:lumMod val="60000"/>
                      <a:lumOff val="40000"/>
                      <a:alpha val="30000"/>
                    </a:schemeClr>
                  </a:gs>
                  <a:gs pos="0">
                    <a:schemeClr val="bg1">
                      <a:lumMod val="60000"/>
                      <a:lumOff val="40000"/>
                      <a:alpha val="0"/>
                    </a:schemeClr>
                  </a:gs>
                </a:gsLst>
                <a:lin ang="5400000" scaled="0"/>
              </a:gra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77"/>
              <a:endParaRPr lang="zh-CN" altLang="en-US" dirty="0">
                <a:solidFill>
                  <a:srgbClr val="1D1D1A"/>
                </a:solidFill>
                <a:cs typeface="Arial" pitchFamily="34" charset="0"/>
              </a:endParaRPr>
            </a:p>
          </p:txBody>
        </p:sp>
      </p:grpSp>
      <p:sp>
        <p:nvSpPr>
          <p:cNvPr id="2" name="副标题 1"/>
          <p:cNvSpPr>
            <a:spLocks noGrp="1"/>
          </p:cNvSpPr>
          <p:nvPr>
            <p:ph type="subTitle" idx="4294967295"/>
          </p:nvPr>
        </p:nvSpPr>
        <p:spPr>
          <a:xfrm>
            <a:off x="723900" y="447675"/>
            <a:ext cx="107315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华为是全球领先的</a:t>
            </a:r>
            <a:r>
              <a:rPr lang="en-US" altLang="zh-CN" sz="28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ICT</a:t>
            </a: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基础设施和智能终端提供商</a:t>
            </a:r>
          </a:p>
        </p:txBody>
      </p:sp>
      <p:sp>
        <p:nvSpPr>
          <p:cNvPr id="49" name="íṣľîďè">
            <a:extLst>
              <a:ext uri="{FF2B5EF4-FFF2-40B4-BE49-F238E27FC236}">
                <a16:creationId xmlns:a16="http://schemas.microsoft.com/office/drawing/2014/main" id="{D149409A-735B-4F32-8CE7-F43F8BF6683A}"/>
              </a:ext>
            </a:extLst>
          </p:cNvPr>
          <p:cNvSpPr txBox="1"/>
          <p:nvPr/>
        </p:nvSpPr>
        <p:spPr>
          <a:xfrm>
            <a:off x="723900" y="5285501"/>
            <a:ext cx="5671902" cy="7791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spAutoFit/>
          </a:bodyPr>
          <a:lstStyle/>
          <a:p>
            <a:pPr>
              <a:lnSpc>
                <a:spcPts val="3200"/>
              </a:lnSpc>
            </a:pPr>
            <a:r>
              <a:rPr lang="zh-CN" altLang="en-US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把数字世界带入每个人、每个家庭、每个组织，</a:t>
            </a:r>
            <a:endParaRPr lang="en-US" altLang="zh-CN" dirty="0">
              <a:solidFill>
                <a:srgbClr val="DDDDDD">
                  <a:lumMod val="10000"/>
                </a:srgbClr>
              </a:solidFill>
              <a:latin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>
              <a:lnSpc>
                <a:spcPts val="3200"/>
              </a:lnSpc>
            </a:pPr>
            <a:r>
              <a:rPr lang="zh-CN" altLang="en-US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构建万物互联的智能世界。</a:t>
            </a:r>
            <a:endParaRPr lang="en-US" altLang="zh-CN" dirty="0">
              <a:solidFill>
                <a:srgbClr val="DDDDDD">
                  <a:lumMod val="10000"/>
                </a:srgbClr>
              </a:solidFill>
              <a:latin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cxnSp>
        <p:nvCxnSpPr>
          <p:cNvPr id="50" name="直接连接符 49"/>
          <p:cNvCxnSpPr/>
          <p:nvPr/>
        </p:nvCxnSpPr>
        <p:spPr>
          <a:xfrm>
            <a:off x="723898" y="5151821"/>
            <a:ext cx="1315302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文本框 3"/>
          <p:cNvSpPr txBox="1"/>
          <p:nvPr/>
        </p:nvSpPr>
        <p:spPr>
          <a:xfrm>
            <a:off x="723898" y="4751421"/>
            <a:ext cx="397192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kumimoji="1" lang="zh-CN" altLang="en-US" sz="2000" b="1" dirty="0">
                <a:solidFill>
                  <a:srgbClr val="DDDDDD">
                    <a:lumMod val="10000"/>
                  </a:srgbClr>
                </a:solidFill>
                <a:latin typeface="Microsoft YaHei" panose="020B0503020204020204" pitchFamily="34" charset="-122"/>
              </a:rPr>
              <a:t>愿景与使命</a:t>
            </a:r>
          </a:p>
        </p:txBody>
      </p:sp>
      <p:grpSp>
        <p:nvGrpSpPr>
          <p:cNvPr id="47105" name="组合 47104">
            <a:extLst>
              <a:ext uri="{FF2B5EF4-FFF2-40B4-BE49-F238E27FC236}">
                <a16:creationId xmlns:a16="http://schemas.microsoft.com/office/drawing/2014/main" id="{809B01E3-D5D9-4BF9-BE77-8052A9E96ABB}"/>
              </a:ext>
            </a:extLst>
          </p:cNvPr>
          <p:cNvGrpSpPr/>
          <p:nvPr/>
        </p:nvGrpSpPr>
        <p:grpSpPr>
          <a:xfrm>
            <a:off x="714173" y="1154612"/>
            <a:ext cx="5671295" cy="3210670"/>
            <a:chOff x="714173" y="1154612"/>
            <a:chExt cx="5671295" cy="3210670"/>
          </a:xfrm>
        </p:grpSpPr>
        <p:sp>
          <p:nvSpPr>
            <p:cNvPr id="23" name="圆角矩形 67">
              <a:extLst>
                <a:ext uri="{FF2B5EF4-FFF2-40B4-BE49-F238E27FC236}">
                  <a16:creationId xmlns:a16="http://schemas.microsoft.com/office/drawing/2014/main" id="{474B9D27-2E2A-4E11-A67E-7B3B491E088A}"/>
                </a:ext>
              </a:extLst>
            </p:cNvPr>
            <p:cNvSpPr/>
            <p:nvPr/>
          </p:nvSpPr>
          <p:spPr bwMode="auto">
            <a:xfrm>
              <a:off x="723899" y="1164392"/>
              <a:ext cx="5652837" cy="3191459"/>
            </a:xfrm>
            <a:prstGeom prst="roundRect">
              <a:avLst>
                <a:gd name="adj" fmla="val 0"/>
              </a:avLst>
            </a:prstGeom>
            <a:noFill/>
            <a:ln w="12700" cap="flat" cmpd="sng" algn="ctr">
              <a:solidFill>
                <a:schemeClr val="tx1">
                  <a:lumMod val="10000"/>
                  <a:lumOff val="90000"/>
                </a:schemeClr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defTabSz="871336" fontAlgn="ctr">
                <a:defRPr/>
              </a:pPr>
              <a:endParaRPr lang="en-US" altLang="zh-CN" kern="0" dirty="0">
                <a:solidFill>
                  <a:srgbClr val="1D1D1A"/>
                </a:solidFill>
              </a:endParaRPr>
            </a:p>
          </p:txBody>
        </p:sp>
        <p:sp>
          <p:nvSpPr>
            <p:cNvPr id="24" name="文本框 226">
              <a:extLst>
                <a:ext uri="{FF2B5EF4-FFF2-40B4-BE49-F238E27FC236}">
                  <a16:creationId xmlns:a16="http://schemas.microsoft.com/office/drawing/2014/main" id="{48DBCA51-2172-448E-ACD3-FCF2907ADD5B}"/>
                </a:ext>
              </a:extLst>
            </p:cNvPr>
            <p:cNvSpPr txBox="1"/>
            <p:nvPr/>
          </p:nvSpPr>
          <p:spPr>
            <a:xfrm>
              <a:off x="832839" y="1284103"/>
              <a:ext cx="5434956" cy="1912486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20000"/>
                <a:lumOff val="80000"/>
                <a:alpha val="50000"/>
              </a:schemeClr>
            </a:solidFill>
            <a:ln w="9525" cap="flat" cmpd="sng" algn="ctr">
              <a:noFill/>
              <a:prstDash val="lgDash"/>
            </a:ln>
            <a:effectLst/>
          </p:spPr>
          <p:txBody>
            <a:bodyPr lIns="0" tIns="0" rIns="0" bIns="0"/>
            <a:lstStyle>
              <a:defPPr>
                <a:defRPr lang="zh-CN"/>
              </a:defPPr>
              <a:lvl1pPr defTabSz="684213" fontAlgn="auto">
                <a:spcBef>
                  <a:spcPts val="0"/>
                </a:spcBef>
                <a:spcAft>
                  <a:spcPts val="0"/>
                </a:spcAft>
                <a:defRPr sz="1200" b="1" kern="0">
                  <a:solidFill>
                    <a:schemeClr val="tx1"/>
                  </a:solidFill>
                  <a:latin typeface="+mn-ea"/>
                  <a:cs typeface="Calibri" panose="020F0502020204030204" pitchFamily="34" charset="0"/>
                </a:defRPr>
              </a:lvl1pPr>
              <a:lvl2pPr defTabSz="684213"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2pPr>
              <a:lvl3pPr defTabSz="684213"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3pPr>
              <a:lvl4pPr defTabSz="684213"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4pPr>
              <a:lvl5pPr defTabSz="684213"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5pPr>
              <a:lvl6pPr marL="457200" indent="1828800" defTabSz="684213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6pPr>
              <a:lvl7pPr marL="914400" indent="1828800" defTabSz="684213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7pPr>
              <a:lvl8pPr marL="1371600" indent="1828800" defTabSz="684213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8pPr>
              <a:lvl9pPr marL="1828800" indent="1828800" defTabSz="684213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00000"/>
                  </a:solidFill>
                  <a:latin typeface="Calibri" pitchFamily="34" charset="0"/>
                  <a:ea typeface="宋体" pitchFamily="2" charset="-122"/>
                  <a:cs typeface="Calibri" panose="020F0502020204030204" pitchFamily="34" charset="0"/>
                </a:defRPr>
              </a:lvl9pPr>
            </a:lstStyle>
            <a:p>
              <a:pPr algn="ctr" defTabSz="652055">
                <a:defRPr/>
              </a:pPr>
              <a:endParaRPr lang="en-US" sz="1000" b="0" kern="1200" dirty="0">
                <a:solidFill>
                  <a:srgbClr val="C00000"/>
                </a:solidFill>
                <a:latin typeface="Arial"/>
                <a:cs typeface="+mn-ea"/>
                <a:sym typeface="Huawei Sans" panose="020C0503030203020204" pitchFamily="34" charset="0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56B2C28B-D557-4F14-956B-1D16CF7E09EF}"/>
                </a:ext>
              </a:extLst>
            </p:cNvPr>
            <p:cNvSpPr>
              <a:spLocks/>
            </p:cNvSpPr>
            <p:nvPr/>
          </p:nvSpPr>
          <p:spPr bwMode="auto">
            <a:xfrm rot="10800000" flipH="1">
              <a:off x="714174" y="4180036"/>
              <a:ext cx="185241" cy="18524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0"/>
                </a:cxn>
                <a:cxn ang="0">
                  <a:pos x="80" y="15"/>
                </a:cxn>
                <a:cxn ang="0">
                  <a:pos x="14" y="15"/>
                </a:cxn>
                <a:cxn ang="0">
                  <a:pos x="14" y="81"/>
                </a:cxn>
                <a:cxn ang="0">
                  <a:pos x="0" y="95"/>
                </a:cxn>
                <a:cxn ang="0">
                  <a:pos x="0" y="0"/>
                </a:cxn>
              </a:cxnLst>
              <a:rect l="0" t="0" r="r" b="b"/>
              <a:pathLst>
                <a:path w="95" h="95">
                  <a:moveTo>
                    <a:pt x="0" y="0"/>
                  </a:moveTo>
                  <a:lnTo>
                    <a:pt x="95" y="0"/>
                  </a:lnTo>
                  <a:lnTo>
                    <a:pt x="80" y="15"/>
                  </a:lnTo>
                  <a:lnTo>
                    <a:pt x="14" y="15"/>
                  </a:lnTo>
                  <a:lnTo>
                    <a:pt x="14" y="81"/>
                  </a:lnTo>
                  <a:lnTo>
                    <a:pt x="0" y="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7000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34" tIns="45717" rIns="91434" bIns="45717" numCol="1" anchor="t" anchorCtr="0" compatLnSpc="1">
              <a:prstTxWarp prst="textNoShape">
                <a:avLst/>
              </a:prstTxWarp>
            </a:bodyPr>
            <a:lstStyle/>
            <a:p>
              <a:pPr defTabSz="870979" fontAlgn="ctr">
                <a:defRPr/>
              </a:pPr>
              <a:endParaRPr lang="en-US" altLang="zh-CN" sz="2700" kern="0" dirty="0">
                <a:solidFill>
                  <a:srgbClr val="1D1D1A"/>
                </a:solidFill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2A7DEFA3-DC23-4A89-8E5C-1FE17572A859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200227" y="1154612"/>
              <a:ext cx="185241" cy="18524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0"/>
                </a:cxn>
                <a:cxn ang="0">
                  <a:pos x="80" y="15"/>
                </a:cxn>
                <a:cxn ang="0">
                  <a:pos x="14" y="15"/>
                </a:cxn>
                <a:cxn ang="0">
                  <a:pos x="14" y="81"/>
                </a:cxn>
                <a:cxn ang="0">
                  <a:pos x="0" y="95"/>
                </a:cxn>
                <a:cxn ang="0">
                  <a:pos x="0" y="0"/>
                </a:cxn>
              </a:cxnLst>
              <a:rect l="0" t="0" r="r" b="b"/>
              <a:pathLst>
                <a:path w="95" h="95">
                  <a:moveTo>
                    <a:pt x="0" y="0"/>
                  </a:moveTo>
                  <a:lnTo>
                    <a:pt x="95" y="0"/>
                  </a:lnTo>
                  <a:lnTo>
                    <a:pt x="80" y="15"/>
                  </a:lnTo>
                  <a:lnTo>
                    <a:pt x="14" y="15"/>
                  </a:lnTo>
                  <a:lnTo>
                    <a:pt x="14" y="81"/>
                  </a:lnTo>
                  <a:lnTo>
                    <a:pt x="0" y="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7000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34" tIns="45717" rIns="91434" bIns="45717" numCol="1" anchor="t" anchorCtr="0" compatLnSpc="1">
              <a:prstTxWarp prst="textNoShape">
                <a:avLst/>
              </a:prstTxWarp>
            </a:bodyPr>
            <a:lstStyle/>
            <a:p>
              <a:pPr defTabSz="870979" fontAlgn="ctr">
                <a:defRPr/>
              </a:pPr>
              <a:endParaRPr lang="en-US" altLang="zh-CN" sz="2700" kern="0" dirty="0">
                <a:solidFill>
                  <a:srgbClr val="1D1D1A"/>
                </a:solidFill>
              </a:endParaRPr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081553F8-0645-4FA3-BF04-B62FF4A722D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173" y="1154612"/>
              <a:ext cx="185241" cy="18524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0"/>
                </a:cxn>
                <a:cxn ang="0">
                  <a:pos x="80" y="15"/>
                </a:cxn>
                <a:cxn ang="0">
                  <a:pos x="14" y="15"/>
                </a:cxn>
                <a:cxn ang="0">
                  <a:pos x="14" y="81"/>
                </a:cxn>
                <a:cxn ang="0">
                  <a:pos x="0" y="95"/>
                </a:cxn>
                <a:cxn ang="0">
                  <a:pos x="0" y="0"/>
                </a:cxn>
              </a:cxnLst>
              <a:rect l="0" t="0" r="r" b="b"/>
              <a:pathLst>
                <a:path w="95" h="95">
                  <a:moveTo>
                    <a:pt x="0" y="0"/>
                  </a:moveTo>
                  <a:lnTo>
                    <a:pt x="95" y="0"/>
                  </a:lnTo>
                  <a:lnTo>
                    <a:pt x="80" y="15"/>
                  </a:lnTo>
                  <a:lnTo>
                    <a:pt x="14" y="15"/>
                  </a:lnTo>
                  <a:lnTo>
                    <a:pt x="14" y="81"/>
                  </a:lnTo>
                  <a:lnTo>
                    <a:pt x="0" y="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7000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34" tIns="45717" rIns="91434" bIns="45717" numCol="1" anchor="t" anchorCtr="0" compatLnSpc="1">
              <a:prstTxWarp prst="textNoShape">
                <a:avLst/>
              </a:prstTxWarp>
            </a:bodyPr>
            <a:lstStyle/>
            <a:p>
              <a:pPr defTabSz="870979" fontAlgn="ctr">
                <a:defRPr/>
              </a:pPr>
              <a:endParaRPr lang="en-US" altLang="zh-CN" sz="2700" kern="0" dirty="0">
                <a:solidFill>
                  <a:srgbClr val="1D1D1A"/>
                </a:solidFill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2F57F3C8-797E-4E6E-AD29-0833D1DFD45C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6200227" y="4180035"/>
              <a:ext cx="185241" cy="18524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0"/>
                </a:cxn>
                <a:cxn ang="0">
                  <a:pos x="80" y="15"/>
                </a:cxn>
                <a:cxn ang="0">
                  <a:pos x="14" y="15"/>
                </a:cxn>
                <a:cxn ang="0">
                  <a:pos x="14" y="81"/>
                </a:cxn>
                <a:cxn ang="0">
                  <a:pos x="0" y="95"/>
                </a:cxn>
                <a:cxn ang="0">
                  <a:pos x="0" y="0"/>
                </a:cxn>
              </a:cxnLst>
              <a:rect l="0" t="0" r="r" b="b"/>
              <a:pathLst>
                <a:path w="95" h="95">
                  <a:moveTo>
                    <a:pt x="0" y="0"/>
                  </a:moveTo>
                  <a:lnTo>
                    <a:pt x="95" y="0"/>
                  </a:lnTo>
                  <a:lnTo>
                    <a:pt x="80" y="15"/>
                  </a:lnTo>
                  <a:lnTo>
                    <a:pt x="14" y="15"/>
                  </a:lnTo>
                  <a:lnTo>
                    <a:pt x="14" y="81"/>
                  </a:lnTo>
                  <a:lnTo>
                    <a:pt x="0" y="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7000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34" tIns="45717" rIns="91434" bIns="45717" numCol="1" anchor="ctr" anchorCtr="0" compatLnSpc="1">
              <a:prstTxWarp prst="textNoShape">
                <a:avLst/>
              </a:prstTxWarp>
            </a:bodyPr>
            <a:lstStyle/>
            <a:p>
              <a:pPr defTabSz="870979" fontAlgn="ctr">
                <a:defRPr/>
              </a:pPr>
              <a:endParaRPr lang="en-US" altLang="zh-CN" sz="2700" kern="0" dirty="0">
                <a:solidFill>
                  <a:srgbClr val="1D1D1A"/>
                </a:solidFill>
              </a:endParaRPr>
            </a:p>
          </p:txBody>
        </p:sp>
        <p:pic>
          <p:nvPicPr>
            <p:cNvPr id="47108" name="Picture 4" descr="https://www-file.huawei.com/-/media/corporate/minisite/annual-report/2019/img/annual-report-2020-03-2.jp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824259" y="1274673"/>
              <a:ext cx="5441053" cy="2961117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8" name="object 5"/>
          <p:cNvSpPr txBox="1"/>
          <p:nvPr/>
        </p:nvSpPr>
        <p:spPr>
          <a:xfrm>
            <a:off x="8540897" y="1126485"/>
            <a:ext cx="1287362" cy="710451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455"/>
              </a:spcBef>
            </a:pPr>
            <a:r>
              <a:rPr lang="en-US" sz="2800" spc="-30" dirty="0">
                <a:solidFill>
                  <a:srgbClr val="C00000"/>
                </a:solidFill>
                <a:latin typeface="微软雅黑" panose="020B0503020204020204" pitchFamily="34" charset="-122"/>
                <a:sym typeface="微软雅黑" panose="020B0503020204020204" pitchFamily="34" charset="-122"/>
              </a:rPr>
              <a:t>19</a:t>
            </a:r>
            <a:r>
              <a:rPr sz="2800" spc="-30" dirty="0">
                <a:solidFill>
                  <a:srgbClr val="C00000"/>
                </a:solidFill>
                <a:latin typeface="微软雅黑" panose="020B0503020204020204" pitchFamily="34" charset="-122"/>
                <a:sym typeface="微软雅黑" panose="020B0503020204020204" pitchFamily="34" charset="-122"/>
              </a:rPr>
              <a:t>.</a:t>
            </a:r>
            <a:r>
              <a:rPr lang="en-US" sz="2800" spc="-30" dirty="0">
                <a:solidFill>
                  <a:srgbClr val="C00000"/>
                </a:solidFill>
                <a:latin typeface="微软雅黑" panose="020B0503020204020204" pitchFamily="34" charset="-122"/>
                <a:sym typeface="微软雅黑" panose="020B0503020204020204" pitchFamily="34" charset="-122"/>
              </a:rPr>
              <a:t>5</a:t>
            </a:r>
            <a:r>
              <a:rPr sz="2800" dirty="0">
                <a:solidFill>
                  <a:srgbClr val="C00000"/>
                </a:solidFill>
                <a:latin typeface="微软雅黑" panose="020B0503020204020204" pitchFamily="34" charset="-122"/>
                <a:sym typeface="微软雅黑" panose="020B0503020204020204" pitchFamily="34" charset="-122"/>
              </a:rPr>
              <a:t>万</a:t>
            </a:r>
            <a:endParaRPr lang="en-US" sz="2800" dirty="0">
              <a:solidFill>
                <a:srgbClr val="C00000"/>
              </a:solidFill>
              <a:latin typeface="微软雅黑" panose="020B0503020204020204" pitchFamily="34" charset="-122"/>
              <a:sym typeface="微软雅黑" panose="020B0503020204020204" pitchFamily="34" charset="-122"/>
            </a:endParaRPr>
          </a:p>
          <a:p>
            <a:pPr algn="ctr">
              <a:spcBef>
                <a:spcPts val="455"/>
              </a:spcBef>
            </a:pPr>
            <a:r>
              <a:rPr sz="1400" dirty="0" err="1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sym typeface="微软雅黑" panose="020B0503020204020204" pitchFamily="34" charset="-122"/>
              </a:rPr>
              <a:t>员工</a:t>
            </a:r>
            <a:endParaRPr sz="1400" dirty="0">
              <a:solidFill>
                <a:srgbClr val="DDDDDD">
                  <a:lumMod val="10000"/>
                </a:srgbClr>
              </a:solidFill>
              <a:latin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35" name="object 12"/>
          <p:cNvSpPr txBox="1"/>
          <p:nvPr/>
        </p:nvSpPr>
        <p:spPr>
          <a:xfrm>
            <a:off x="8660775" y="2209833"/>
            <a:ext cx="1047607" cy="65915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spcBef>
                <a:spcPts val="455"/>
              </a:spcBef>
            </a:pPr>
            <a:r>
              <a:rPr sz="2800" spc="-30" dirty="0">
                <a:solidFill>
                  <a:srgbClr val="C00000"/>
                </a:solidFill>
                <a:latin typeface="微软雅黑" panose="020B0503020204020204" pitchFamily="34" charset="-122"/>
                <a:sym typeface="微软雅黑" panose="020B0503020204020204" pitchFamily="34" charset="-122"/>
              </a:rPr>
              <a:t>170</a:t>
            </a:r>
            <a:r>
              <a:rPr sz="2400" spc="-30" dirty="0">
                <a:solidFill>
                  <a:srgbClr val="C00000"/>
                </a:solidFill>
                <a:latin typeface="微软雅黑" panose="020B0503020204020204" pitchFamily="34" charset="-122"/>
                <a:sym typeface="微软雅黑" panose="020B0503020204020204" pitchFamily="34" charset="-122"/>
              </a:rPr>
              <a:t>+</a:t>
            </a:r>
          </a:p>
          <a:p>
            <a:pPr marL="69850" algn="ctr">
              <a:spcBef>
                <a:spcPts val="130"/>
              </a:spcBef>
            </a:pPr>
            <a:r>
              <a:rPr sz="14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sym typeface="微软雅黑" panose="020B0503020204020204" pitchFamily="34" charset="-122"/>
              </a:rPr>
              <a:t>国家和地区</a:t>
            </a:r>
          </a:p>
        </p:txBody>
      </p:sp>
      <p:sp>
        <p:nvSpPr>
          <p:cNvPr id="55" name="object 13"/>
          <p:cNvSpPr txBox="1"/>
          <p:nvPr/>
        </p:nvSpPr>
        <p:spPr>
          <a:xfrm>
            <a:off x="8474769" y="3199214"/>
            <a:ext cx="1419618" cy="67197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spcBef>
                <a:spcPts val="455"/>
              </a:spcBef>
            </a:pPr>
            <a:r>
              <a:rPr lang="en-US" sz="2800" spc="-30" dirty="0">
                <a:solidFill>
                  <a:srgbClr val="C00000"/>
                </a:solidFill>
                <a:latin typeface="微软雅黑" panose="020B0503020204020204" pitchFamily="34" charset="-122"/>
                <a:sym typeface="微软雅黑" panose="020B0503020204020204" pitchFamily="34" charset="-122"/>
              </a:rPr>
              <a:t>44</a:t>
            </a:r>
            <a:endParaRPr sz="2800" spc="-30" dirty="0">
              <a:solidFill>
                <a:srgbClr val="C00000"/>
              </a:solidFill>
              <a:latin typeface="微软雅黑" panose="020B0503020204020204" pitchFamily="34" charset="-122"/>
              <a:sym typeface="微软雅黑" panose="020B0503020204020204" pitchFamily="34" charset="-122"/>
            </a:endParaRPr>
          </a:p>
          <a:p>
            <a:pPr algn="ctr">
              <a:spcBef>
                <a:spcPts val="150"/>
              </a:spcBef>
            </a:pPr>
            <a:r>
              <a:rPr sz="14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sym typeface="微软雅黑" panose="020B0503020204020204" pitchFamily="34" charset="-122"/>
              </a:rPr>
              <a:t>世界500强排名</a:t>
            </a:r>
          </a:p>
        </p:txBody>
      </p:sp>
      <p:sp>
        <p:nvSpPr>
          <p:cNvPr id="29" name="object 6"/>
          <p:cNvSpPr txBox="1"/>
          <p:nvPr/>
        </p:nvSpPr>
        <p:spPr>
          <a:xfrm>
            <a:off x="8390425" y="4147716"/>
            <a:ext cx="1588307" cy="720710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455"/>
              </a:spcBef>
            </a:pPr>
            <a:r>
              <a:rPr lang="en-US" sz="3200" spc="-30" dirty="0">
                <a:solidFill>
                  <a:srgbClr val="C00000"/>
                </a:solidFill>
                <a:latin typeface="微软雅黑" panose="020B0503020204020204" pitchFamily="34" charset="-122"/>
                <a:sym typeface="微软雅黑" panose="020B0503020204020204" pitchFamily="34" charset="-122"/>
              </a:rPr>
              <a:t>2</a:t>
            </a:r>
            <a:endParaRPr sz="3200" spc="-30" dirty="0">
              <a:solidFill>
                <a:srgbClr val="C00000"/>
              </a:solidFill>
              <a:latin typeface="微软雅黑" panose="020B0503020204020204" pitchFamily="34" charset="-122"/>
              <a:sym typeface="微软雅黑" panose="020B0503020204020204" pitchFamily="34" charset="-122"/>
            </a:endParaRPr>
          </a:p>
          <a:p>
            <a:pPr marL="39370" algn="ctr">
              <a:spcBef>
                <a:spcPts val="130"/>
              </a:spcBef>
            </a:pPr>
            <a:r>
              <a:rPr lang="zh-CN" altLang="en-US" sz="14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全球</a:t>
            </a:r>
            <a:r>
              <a:rPr sz="1400" dirty="0" err="1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sym typeface="微软雅黑" panose="020B0503020204020204" pitchFamily="34" charset="-122"/>
              </a:rPr>
              <a:t>研发</a:t>
            </a:r>
            <a:r>
              <a:rPr lang="zh-CN" altLang="en-US" sz="14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投资排名</a:t>
            </a:r>
            <a:endParaRPr sz="1400" dirty="0">
              <a:solidFill>
                <a:srgbClr val="DDDDDD">
                  <a:lumMod val="10000"/>
                </a:srgbClr>
              </a:solidFill>
              <a:latin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76" name="object 6"/>
          <p:cNvSpPr txBox="1"/>
          <p:nvPr/>
        </p:nvSpPr>
        <p:spPr>
          <a:xfrm>
            <a:off x="8536432" y="5144344"/>
            <a:ext cx="1296293" cy="720710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Bef>
                <a:spcPts val="455"/>
              </a:spcBef>
            </a:pPr>
            <a:r>
              <a:rPr lang="en-US" sz="3200" spc="-30" dirty="0">
                <a:solidFill>
                  <a:srgbClr val="C00000"/>
                </a:solidFill>
                <a:latin typeface="微软雅黑" panose="020B0503020204020204" pitchFamily="34" charset="-122"/>
                <a:sym typeface="微软雅黑" panose="020B0503020204020204" pitchFamily="34" charset="-122"/>
              </a:rPr>
              <a:t>54.8%</a:t>
            </a:r>
            <a:endParaRPr sz="3200" spc="-30" dirty="0">
              <a:solidFill>
                <a:srgbClr val="C00000"/>
              </a:solidFill>
              <a:latin typeface="微软雅黑" panose="020B0503020204020204" pitchFamily="34" charset="-122"/>
              <a:sym typeface="微软雅黑" panose="020B0503020204020204" pitchFamily="34" charset="-122"/>
            </a:endParaRPr>
          </a:p>
          <a:p>
            <a:pPr marL="39370" algn="ctr">
              <a:spcBef>
                <a:spcPts val="130"/>
              </a:spcBef>
            </a:pPr>
            <a:r>
              <a:rPr sz="1400" dirty="0" err="1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sym typeface="微软雅黑" panose="020B0503020204020204" pitchFamily="34" charset="-122"/>
              </a:rPr>
              <a:t>研发员工</a:t>
            </a:r>
            <a:r>
              <a:rPr lang="zh-CN" altLang="en-US" sz="14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sym typeface="微软雅黑" panose="020B0503020204020204" pitchFamily="34" charset="-122"/>
              </a:rPr>
              <a:t>占比</a:t>
            </a:r>
            <a:endParaRPr sz="1400" dirty="0">
              <a:solidFill>
                <a:srgbClr val="DDDDDD">
                  <a:lumMod val="10000"/>
                </a:srgbClr>
              </a:solidFill>
              <a:latin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950381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框 7"/>
          <p:cNvSpPr txBox="1"/>
          <p:nvPr/>
        </p:nvSpPr>
        <p:spPr>
          <a:xfrm>
            <a:off x="3495934" y="1115930"/>
            <a:ext cx="5034337" cy="5283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3440"/>
              </a:lnSpc>
            </a:pPr>
            <a:r>
              <a:rPr lang="zh-CN" altLang="en-US" sz="2400" b="1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构建万物互联的智能世界</a:t>
            </a:r>
          </a:p>
        </p:txBody>
      </p: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504DF72A-22CD-41AA-AC3E-675BA9B939F4}"/>
              </a:ext>
            </a:extLst>
          </p:cNvPr>
          <p:cNvGrpSpPr>
            <a:grpSpLocks/>
          </p:cNvGrpSpPr>
          <p:nvPr/>
        </p:nvGrpSpPr>
        <p:grpSpPr>
          <a:xfrm>
            <a:off x="8918424" y="3604020"/>
            <a:ext cx="2536976" cy="2428480"/>
            <a:chOff x="9268940" y="3604020"/>
            <a:chExt cx="1980000" cy="2428480"/>
          </a:xfrm>
        </p:grpSpPr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B477F576-78DD-4308-9D05-749171DCDAC7}"/>
                </a:ext>
              </a:extLst>
            </p:cNvPr>
            <p:cNvSpPr/>
            <p:nvPr/>
          </p:nvSpPr>
          <p:spPr>
            <a:xfrm>
              <a:off x="9268940" y="3964020"/>
              <a:ext cx="1980000" cy="2068480"/>
            </a:xfrm>
            <a:prstGeom prst="rect">
              <a:avLst/>
            </a:prstGeom>
            <a:gradFill>
              <a:gsLst>
                <a:gs pos="100000">
                  <a:schemeClr val="tx2">
                    <a:lumMod val="95000"/>
                    <a:alpha val="0"/>
                  </a:schemeClr>
                </a:gs>
                <a:gs pos="33000">
                  <a:schemeClr val="tx2">
                    <a:lumMod val="95000"/>
                  </a:schemeClr>
                </a:gs>
              </a:gsLst>
              <a:lin ang="5400000" scaled="0"/>
            </a:gradFill>
            <a:ln w="6350">
              <a:gradFill>
                <a:gsLst>
                  <a:gs pos="0">
                    <a:schemeClr val="bg1">
                      <a:lumMod val="40000"/>
                      <a:lumOff val="60000"/>
                    </a:schemeClr>
                  </a:gs>
                  <a:gs pos="100000">
                    <a:schemeClr val="bg1">
                      <a:lumMod val="40000"/>
                      <a:lumOff val="60000"/>
                      <a:alpha val="0"/>
                    </a:schemeClr>
                  </a:gs>
                </a:gsLst>
                <a:lin ang="54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defTabSz="914477">
                <a:lnSpc>
                  <a:spcPct val="120000"/>
                </a:lnSpc>
              </a:pPr>
              <a:endParaRPr kumimoji="1" lang="zh-CN" altLang="en-US" sz="1200" dirty="0">
                <a:solidFill>
                  <a:srgbClr val="FFFFFF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16" name="圆角矩形 15"/>
            <p:cNvSpPr/>
            <p:nvPr/>
          </p:nvSpPr>
          <p:spPr>
            <a:xfrm>
              <a:off x="9268940" y="3604020"/>
              <a:ext cx="1980000" cy="360000"/>
            </a:xfrm>
            <a:prstGeom prst="rect">
              <a:avLst/>
            </a:prstGeom>
            <a:gradFill flip="none" rotWithShape="1">
              <a:gsLst>
                <a:gs pos="38000">
                  <a:schemeClr val="tx2"/>
                </a:gs>
                <a:gs pos="100000">
                  <a:schemeClr val="tx2">
                    <a:lumMod val="95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 algn="ctr">
              <a:gradFill flip="none" rotWithShape="1">
                <a:gsLst>
                  <a:gs pos="0">
                    <a:srgbClr val="666666">
                      <a:lumMod val="60000"/>
                      <a:lumOff val="40000"/>
                      <a:alpha val="80000"/>
                    </a:srgbClr>
                  </a:gs>
                  <a:gs pos="100000">
                    <a:srgbClr val="666666">
                      <a:lumMod val="60000"/>
                      <a:lumOff val="40000"/>
                      <a:alpha val="40000"/>
                    </a:srgbClr>
                  </a:gs>
                </a:gsLst>
                <a:lin ang="0" scaled="0"/>
                <a:tileRect/>
              </a:gra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square" lIns="0" tIns="0" rIns="0" bIns="0" anchor="ctr" anchorCtr="1"/>
            <a:lstStyle/>
            <a:p>
              <a:r>
                <a:rPr lang="zh-CN" altLang="en-US" sz="1600" b="1" dirty="0">
                  <a:solidFill>
                    <a:srgbClr val="C00000"/>
                  </a:solidFill>
                  <a:latin typeface="微软雅黑" panose="020B0503020204020204" pitchFamily="34" charset="-122"/>
                  <a:sym typeface="微软雅黑" panose="020B0503020204020204" pitchFamily="34" charset="-122"/>
                </a:rPr>
                <a:t>数字平台</a:t>
              </a:r>
            </a:p>
          </p:txBody>
        </p:sp>
      </p:grpSp>
      <p:sp>
        <p:nvSpPr>
          <p:cNvPr id="23" name="矩形 22"/>
          <p:cNvSpPr/>
          <p:nvPr/>
        </p:nvSpPr>
        <p:spPr>
          <a:xfrm>
            <a:off x="9013608" y="4120915"/>
            <a:ext cx="2547018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 defTabSz="914400">
              <a:lnSpc>
                <a:spcPts val="14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200" kern="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anose="020B0604020202020204" pitchFamily="34" charset="0"/>
              </a:rPr>
              <a:t>打造开放可信云平台</a:t>
            </a:r>
            <a:br>
              <a:rPr lang="en-US" altLang="zh-CN" sz="1200" kern="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anose="020B0604020202020204" pitchFamily="34" charset="0"/>
              </a:rPr>
            </a:br>
            <a:r>
              <a:rPr lang="zh-CN" altLang="en-US" sz="1200" kern="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anose="020B0604020202020204" pitchFamily="34" charset="0"/>
              </a:rPr>
              <a:t>（公有云</a:t>
            </a:r>
            <a:r>
              <a:rPr lang="en-US" altLang="zh-CN" sz="1200" kern="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anose="020B0604020202020204" pitchFamily="34" charset="0"/>
              </a:rPr>
              <a:t>+</a:t>
            </a:r>
            <a:r>
              <a:rPr lang="zh-CN" altLang="en-US" sz="1200" kern="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anose="020B0604020202020204" pitchFamily="34" charset="0"/>
              </a:rPr>
              <a:t>华为云</a:t>
            </a:r>
            <a:r>
              <a:rPr lang="en-US" altLang="zh-CN" sz="1200" kern="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anose="020B0604020202020204" pitchFamily="34" charset="0"/>
              </a:rPr>
              <a:t>Stack+</a:t>
            </a:r>
            <a:r>
              <a:rPr lang="zh-CN" altLang="en-US" sz="1200" kern="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anose="020B0604020202020204" pitchFamily="34" charset="0"/>
              </a:rPr>
              <a:t>边缘云）</a:t>
            </a:r>
            <a:endParaRPr lang="en-US" altLang="zh-CN" sz="1200" kern="0" dirty="0">
              <a:solidFill>
                <a:srgbClr val="DDDDDD">
                  <a:lumMod val="10000"/>
                </a:srgbClr>
              </a:solidFill>
              <a:latin typeface="微软雅黑" panose="020B0503020204020204" pitchFamily="34" charset="-122"/>
              <a:cs typeface="Arial" panose="020B0604020202020204" pitchFamily="34" charset="0"/>
            </a:endParaRPr>
          </a:p>
          <a:p>
            <a:pPr marL="171450" indent="-171450" defTabSz="914400">
              <a:lnSpc>
                <a:spcPts val="14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200" kern="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anose="020B0604020202020204" pitchFamily="34" charset="0"/>
                <a:sym typeface="微软雅黑" panose="020B0503020204020204" pitchFamily="34" charset="-122"/>
              </a:rPr>
              <a:t>端管云协同的</a:t>
            </a:r>
            <a:r>
              <a:rPr lang="en-US" altLang="zh-CN" sz="1200" kern="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anose="020B0604020202020204" pitchFamily="34" charset="0"/>
                <a:sym typeface="微软雅黑" panose="020B0503020204020204" pitchFamily="34" charset="-122"/>
              </a:rPr>
              <a:t>ICT</a:t>
            </a:r>
            <a:r>
              <a:rPr lang="zh-CN" altLang="en-US" sz="1200" kern="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anose="020B0604020202020204" pitchFamily="34" charset="0"/>
                <a:sym typeface="微软雅黑" panose="020B0503020204020204" pitchFamily="34" charset="-122"/>
              </a:rPr>
              <a:t>基础设施平台</a:t>
            </a: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DB300B2A-320D-4C18-A516-3BA93278DF18}"/>
              </a:ext>
            </a:extLst>
          </p:cNvPr>
          <p:cNvGrpSpPr>
            <a:grpSpLocks/>
          </p:cNvGrpSpPr>
          <p:nvPr/>
        </p:nvGrpSpPr>
        <p:grpSpPr>
          <a:xfrm>
            <a:off x="3455408" y="3604020"/>
            <a:ext cx="2536976" cy="2428480"/>
            <a:chOff x="3721528" y="3604020"/>
            <a:chExt cx="1980001" cy="2428480"/>
          </a:xfrm>
        </p:grpSpPr>
        <p:sp>
          <p:nvSpPr>
            <p:cNvPr id="32" name="矩形 31">
              <a:extLst>
                <a:ext uri="{FF2B5EF4-FFF2-40B4-BE49-F238E27FC236}">
                  <a16:creationId xmlns:a16="http://schemas.microsoft.com/office/drawing/2014/main" id="{E9D1A64B-7AB7-4DAD-BB6E-E472D50084E0}"/>
                </a:ext>
              </a:extLst>
            </p:cNvPr>
            <p:cNvSpPr/>
            <p:nvPr/>
          </p:nvSpPr>
          <p:spPr>
            <a:xfrm>
              <a:off x="3721528" y="3964020"/>
              <a:ext cx="1980000" cy="2068480"/>
            </a:xfrm>
            <a:prstGeom prst="rect">
              <a:avLst/>
            </a:prstGeom>
            <a:gradFill>
              <a:gsLst>
                <a:gs pos="100000">
                  <a:schemeClr val="tx2">
                    <a:lumMod val="95000"/>
                    <a:alpha val="0"/>
                  </a:schemeClr>
                </a:gs>
                <a:gs pos="33000">
                  <a:schemeClr val="tx2">
                    <a:lumMod val="95000"/>
                  </a:schemeClr>
                </a:gs>
              </a:gsLst>
              <a:lin ang="5400000" scaled="0"/>
            </a:gradFill>
            <a:ln w="6350">
              <a:gradFill>
                <a:gsLst>
                  <a:gs pos="0">
                    <a:schemeClr val="bg1">
                      <a:lumMod val="40000"/>
                      <a:lumOff val="60000"/>
                    </a:schemeClr>
                  </a:gs>
                  <a:gs pos="100000">
                    <a:schemeClr val="bg1">
                      <a:lumMod val="40000"/>
                      <a:lumOff val="60000"/>
                      <a:alpha val="0"/>
                    </a:schemeClr>
                  </a:gs>
                </a:gsLst>
                <a:lin ang="54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defTabSz="914477">
                <a:lnSpc>
                  <a:spcPct val="120000"/>
                </a:lnSpc>
              </a:pPr>
              <a:endParaRPr kumimoji="1" lang="zh-CN" altLang="en-US" sz="1200" dirty="0">
                <a:solidFill>
                  <a:srgbClr val="FFFFFF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17" name="圆角矩形 16"/>
            <p:cNvSpPr/>
            <p:nvPr/>
          </p:nvSpPr>
          <p:spPr>
            <a:xfrm>
              <a:off x="3721529" y="3604020"/>
              <a:ext cx="1980000" cy="360000"/>
            </a:xfrm>
            <a:prstGeom prst="rect">
              <a:avLst/>
            </a:prstGeom>
            <a:gradFill flip="none" rotWithShape="1">
              <a:gsLst>
                <a:gs pos="38000">
                  <a:schemeClr val="tx2"/>
                </a:gs>
                <a:gs pos="100000">
                  <a:schemeClr val="tx2">
                    <a:lumMod val="95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 algn="ctr">
              <a:gradFill flip="none" rotWithShape="1">
                <a:gsLst>
                  <a:gs pos="0">
                    <a:srgbClr val="666666">
                      <a:lumMod val="60000"/>
                      <a:lumOff val="40000"/>
                      <a:alpha val="80000"/>
                    </a:srgbClr>
                  </a:gs>
                  <a:gs pos="100000">
                    <a:srgbClr val="666666">
                      <a:lumMod val="60000"/>
                      <a:lumOff val="40000"/>
                      <a:alpha val="40000"/>
                    </a:srgbClr>
                  </a:gs>
                </a:gsLst>
                <a:lin ang="0" scaled="0"/>
                <a:tileRect/>
              </a:gra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square" lIns="0" tIns="0" rIns="0" bIns="0" anchor="ctr" anchorCtr="1"/>
            <a:lstStyle/>
            <a:p>
              <a:r>
                <a:rPr lang="zh-CN" altLang="en-US" sz="1600" b="1" dirty="0">
                  <a:solidFill>
                    <a:srgbClr val="C00000"/>
                  </a:solidFill>
                  <a:latin typeface="微软雅黑" panose="020B0503020204020204" pitchFamily="34" charset="-122"/>
                  <a:sym typeface="微软雅黑" panose="020B0503020204020204" pitchFamily="34" charset="-122"/>
                </a:rPr>
                <a:t>无所不及的智能</a:t>
              </a:r>
            </a:p>
          </p:txBody>
        </p:sp>
      </p:grpSp>
      <p:sp>
        <p:nvSpPr>
          <p:cNvPr id="25" name="矩形 151">
            <a:extLst>
              <a:ext uri="{FF2B5EF4-FFF2-40B4-BE49-F238E27FC236}">
                <a16:creationId xmlns:a16="http://schemas.microsoft.com/office/drawing/2014/main" id="{9E4D71E5-B2E6-1C4F-A2C3-7AB77006BBCA}"/>
              </a:ext>
            </a:extLst>
          </p:cNvPr>
          <p:cNvSpPr/>
          <p:nvPr/>
        </p:nvSpPr>
        <p:spPr>
          <a:xfrm>
            <a:off x="3883626" y="4120915"/>
            <a:ext cx="1810538" cy="183518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 defTabSz="9144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200" kern="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anose="020B0604020202020204" pitchFamily="34" charset="0"/>
                <a:sym typeface="微软雅黑" panose="020B0503020204020204" pitchFamily="34" charset="-122"/>
              </a:rPr>
              <a:t>企业智能（</a:t>
            </a:r>
            <a:r>
              <a:rPr lang="en-US" altLang="zh-CN" sz="1200" kern="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anose="020B0604020202020204" pitchFamily="34" charset="0"/>
                <a:sym typeface="微软雅黑" panose="020B0503020204020204" pitchFamily="34" charset="-122"/>
              </a:rPr>
              <a:t>EI</a:t>
            </a:r>
            <a:r>
              <a:rPr lang="zh-CN" altLang="en-US" sz="1200" kern="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anose="020B0604020202020204" pitchFamily="34" charset="0"/>
                <a:sym typeface="微软雅黑" panose="020B0503020204020204" pitchFamily="34" charset="-122"/>
              </a:rPr>
              <a:t>）</a:t>
            </a:r>
            <a:endParaRPr lang="en-US" altLang="zh-CN" sz="1200" kern="0" dirty="0">
              <a:solidFill>
                <a:srgbClr val="DDDDDD">
                  <a:lumMod val="10000"/>
                </a:srgbClr>
              </a:solidFill>
              <a:latin typeface="微软雅黑" panose="020B0503020204020204" pitchFamily="34" charset="-122"/>
              <a:cs typeface="Arial" panose="020B0604020202020204" pitchFamily="34" charset="0"/>
              <a:sym typeface="微软雅黑" panose="020B0503020204020204" pitchFamily="34" charset="-122"/>
            </a:endParaRPr>
          </a:p>
          <a:p>
            <a:pPr marL="171450" indent="-171450" defTabSz="9144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altLang="zh-CN" sz="1200" kern="0" dirty="0" err="1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anose="020B0604020202020204" pitchFamily="34" charset="0"/>
                <a:sym typeface="微软雅黑" panose="020B0503020204020204" pitchFamily="34" charset="-122"/>
              </a:rPr>
              <a:t>HiAI</a:t>
            </a:r>
            <a:endParaRPr lang="en-US" altLang="zh-CN" sz="1200" kern="0" dirty="0">
              <a:solidFill>
                <a:srgbClr val="DDDDDD">
                  <a:lumMod val="10000"/>
                </a:srgbClr>
              </a:solidFill>
              <a:latin typeface="微软雅黑" panose="020B0503020204020204" pitchFamily="34" charset="-122"/>
              <a:cs typeface="Arial" panose="020B0604020202020204" pitchFamily="34" charset="0"/>
              <a:sym typeface="微软雅黑" panose="020B0503020204020204" pitchFamily="34" charset="-122"/>
            </a:endParaRPr>
          </a:p>
          <a:p>
            <a:pPr marL="171450" indent="-171450" defTabSz="9144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200" kern="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anose="020B0604020202020204" pitchFamily="34" charset="0"/>
                <a:sym typeface="微软雅黑" panose="020B0503020204020204" pitchFamily="34" charset="-122"/>
              </a:rPr>
              <a:t>自动驾驶网络（</a:t>
            </a:r>
            <a:r>
              <a:rPr lang="en-US" altLang="zh-CN" sz="1200" kern="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anose="020B0604020202020204" pitchFamily="34" charset="0"/>
                <a:sym typeface="微软雅黑" panose="020B0503020204020204" pitchFamily="34" charset="-122"/>
              </a:rPr>
              <a:t>ADN</a:t>
            </a:r>
            <a:r>
              <a:rPr lang="zh-CN" altLang="en-US" sz="1200" kern="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anose="020B0604020202020204" pitchFamily="34" charset="0"/>
                <a:sym typeface="微软雅黑" panose="020B0503020204020204" pitchFamily="34" charset="-122"/>
              </a:rPr>
              <a:t>）</a:t>
            </a:r>
            <a:endParaRPr lang="en-US" altLang="zh-CN" sz="1200" kern="0" dirty="0">
              <a:solidFill>
                <a:srgbClr val="DDDDDD">
                  <a:lumMod val="10000"/>
                </a:srgbClr>
              </a:solidFill>
              <a:latin typeface="微软雅黑" panose="020B0503020204020204" pitchFamily="34" charset="-122"/>
              <a:cs typeface="Arial" panose="020B0604020202020204" pitchFamily="34" charset="0"/>
              <a:sym typeface="微软雅黑" panose="020B0503020204020204" pitchFamily="34" charset="-122"/>
            </a:endParaRPr>
          </a:p>
          <a:p>
            <a:pPr marL="171450" indent="-171450" defTabSz="9144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200" kern="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anose="020B0604020202020204" pitchFamily="34" charset="0"/>
                <a:sym typeface="微软雅黑" panose="020B0503020204020204" pitchFamily="34" charset="-122"/>
              </a:rPr>
              <a:t>边缘智能</a:t>
            </a:r>
          </a:p>
          <a:p>
            <a:pPr marL="171450" indent="-171450" defTabSz="914400">
              <a:lnSpc>
                <a:spcPts val="12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200" kern="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anose="020B0604020202020204" pitchFamily="34" charset="0"/>
                <a:sym typeface="微软雅黑" panose="020B0503020204020204" pitchFamily="34" charset="-122"/>
              </a:rPr>
              <a:t>智能计算（鲲鹏计算、昇腾计算、集群计算）</a:t>
            </a:r>
            <a:endParaRPr lang="en-US" altLang="zh-CN" sz="1200" kern="0" dirty="0">
              <a:solidFill>
                <a:srgbClr val="DDDDDD">
                  <a:lumMod val="10000"/>
                </a:srgbClr>
              </a:solidFill>
              <a:latin typeface="微软雅黑" panose="020B0503020204020204" pitchFamily="34" charset="-122"/>
              <a:cs typeface="Arial" panose="020B0604020202020204" pitchFamily="34" charset="0"/>
              <a:sym typeface="微软雅黑" panose="020B0503020204020204" pitchFamily="34" charset="-122"/>
            </a:endParaRPr>
          </a:p>
          <a:p>
            <a:pPr marL="171450" indent="-171450" defTabSz="9144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200" kern="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anose="020B0604020202020204" pitchFamily="34" charset="0"/>
                <a:sym typeface="微软雅黑" panose="020B0503020204020204" pitchFamily="34" charset="-122"/>
              </a:rPr>
              <a:t>智能数据存储</a:t>
            </a:r>
            <a:endParaRPr lang="en-US" altLang="zh-CN" sz="1200" kern="0" dirty="0">
              <a:solidFill>
                <a:srgbClr val="DDDDDD">
                  <a:lumMod val="10000"/>
                </a:srgbClr>
              </a:solidFill>
              <a:latin typeface="微软雅黑" panose="020B0503020204020204" pitchFamily="34" charset="-122"/>
              <a:cs typeface="Arial" panose="020B0604020202020204" pitchFamily="34" charset="0"/>
              <a:sym typeface="微软雅黑" panose="020B0503020204020204" pitchFamily="34" charset="-122"/>
            </a:endParaRPr>
          </a:p>
          <a:p>
            <a:pPr marL="171450" indent="-171450" defTabSz="9144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200" kern="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anose="020B0604020202020204" pitchFamily="34" charset="0"/>
                <a:sym typeface="微软雅黑" panose="020B0503020204020204" pitchFamily="34" charset="-122"/>
              </a:rPr>
              <a:t>智能协作</a:t>
            </a:r>
            <a:endParaRPr lang="en-US" altLang="zh-CN" sz="1200" kern="0" dirty="0">
              <a:solidFill>
                <a:srgbClr val="DDDDDD">
                  <a:lumMod val="10000"/>
                </a:srgbClr>
              </a:solidFill>
              <a:latin typeface="微软雅黑" panose="020B0503020204020204" pitchFamily="34" charset="-122"/>
              <a:cs typeface="Arial" panose="020B0604020202020204" pitchFamily="34" charset="0"/>
              <a:sym typeface="微软雅黑" panose="020B0503020204020204" pitchFamily="34" charset="-122"/>
            </a:endParaRPr>
          </a:p>
          <a:p>
            <a:pPr marL="171450" indent="-171450" defTabSz="914400">
              <a:lnSpc>
                <a:spcPts val="11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200" kern="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anose="020B0604020202020204" pitchFamily="34" charset="0"/>
                <a:sym typeface="微软雅黑" panose="020B0503020204020204" pitchFamily="34" charset="-122"/>
              </a:rPr>
              <a:t>智能安全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3F4A51F6-7360-431E-8D83-9AA32410C514}"/>
              </a:ext>
            </a:extLst>
          </p:cNvPr>
          <p:cNvGrpSpPr>
            <a:grpSpLocks/>
          </p:cNvGrpSpPr>
          <p:nvPr/>
        </p:nvGrpSpPr>
        <p:grpSpPr>
          <a:xfrm>
            <a:off x="723900" y="3604020"/>
            <a:ext cx="2536976" cy="2428480"/>
            <a:chOff x="947823" y="3604020"/>
            <a:chExt cx="1980000" cy="2428480"/>
          </a:xfrm>
        </p:grpSpPr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2377F06A-8673-4E06-9068-4E38D40EC0AC}"/>
                </a:ext>
              </a:extLst>
            </p:cNvPr>
            <p:cNvSpPr/>
            <p:nvPr/>
          </p:nvSpPr>
          <p:spPr>
            <a:xfrm>
              <a:off x="947823" y="3964020"/>
              <a:ext cx="1980000" cy="2068480"/>
            </a:xfrm>
            <a:prstGeom prst="rect">
              <a:avLst/>
            </a:prstGeom>
            <a:gradFill>
              <a:gsLst>
                <a:gs pos="100000">
                  <a:schemeClr val="tx2">
                    <a:lumMod val="95000"/>
                    <a:alpha val="0"/>
                  </a:schemeClr>
                </a:gs>
                <a:gs pos="33000">
                  <a:schemeClr val="tx2">
                    <a:lumMod val="95000"/>
                  </a:schemeClr>
                </a:gs>
              </a:gsLst>
              <a:lin ang="5400000" scaled="0"/>
            </a:gradFill>
            <a:ln w="6350">
              <a:gradFill>
                <a:gsLst>
                  <a:gs pos="0">
                    <a:schemeClr val="bg1">
                      <a:lumMod val="40000"/>
                      <a:lumOff val="60000"/>
                    </a:schemeClr>
                  </a:gs>
                  <a:gs pos="100000">
                    <a:schemeClr val="bg1">
                      <a:lumMod val="40000"/>
                      <a:lumOff val="60000"/>
                      <a:alpha val="0"/>
                    </a:schemeClr>
                  </a:gs>
                </a:gsLst>
                <a:lin ang="54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defTabSz="914477">
                <a:lnSpc>
                  <a:spcPct val="120000"/>
                </a:lnSpc>
              </a:pPr>
              <a:endParaRPr kumimoji="1" lang="zh-CN" altLang="en-US" sz="1200" dirty="0">
                <a:solidFill>
                  <a:srgbClr val="FFFFFF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15" name="圆角矩形 14"/>
            <p:cNvSpPr/>
            <p:nvPr/>
          </p:nvSpPr>
          <p:spPr>
            <a:xfrm>
              <a:off x="947823" y="3604020"/>
              <a:ext cx="1980000" cy="360000"/>
            </a:xfrm>
            <a:prstGeom prst="rect">
              <a:avLst/>
            </a:prstGeom>
            <a:gradFill flip="none" rotWithShape="1">
              <a:gsLst>
                <a:gs pos="38000">
                  <a:schemeClr val="tx2"/>
                </a:gs>
                <a:gs pos="100000">
                  <a:schemeClr val="tx2">
                    <a:lumMod val="95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 algn="ctr">
              <a:gradFill flip="none" rotWithShape="1">
                <a:gsLst>
                  <a:gs pos="0">
                    <a:srgbClr val="666666">
                      <a:lumMod val="60000"/>
                      <a:lumOff val="40000"/>
                      <a:alpha val="80000"/>
                    </a:srgbClr>
                  </a:gs>
                  <a:gs pos="100000">
                    <a:srgbClr val="666666">
                      <a:lumMod val="60000"/>
                      <a:lumOff val="40000"/>
                      <a:alpha val="40000"/>
                    </a:srgbClr>
                  </a:gs>
                </a:gsLst>
                <a:lin ang="0" scaled="0"/>
                <a:tileRect/>
              </a:gra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square" lIns="0" tIns="0" rIns="0" bIns="0" anchor="ctr" anchorCtr="1"/>
            <a:lstStyle/>
            <a:p>
              <a:r>
                <a:rPr lang="zh-CN" altLang="en-US" sz="1600" b="1" dirty="0">
                  <a:solidFill>
                    <a:srgbClr val="C00000"/>
                  </a:solidFill>
                  <a:latin typeface="微软雅黑" panose="020B0503020204020204" pitchFamily="34" charset="-122"/>
                  <a:sym typeface="微软雅黑" panose="020B0503020204020204" pitchFamily="34" charset="-122"/>
                </a:rPr>
                <a:t>无处不在的联接</a:t>
              </a:r>
            </a:p>
          </p:txBody>
        </p:sp>
      </p:grpSp>
      <p:sp>
        <p:nvSpPr>
          <p:cNvPr id="26" name="矩形 151">
            <a:extLst>
              <a:ext uri="{FF2B5EF4-FFF2-40B4-BE49-F238E27FC236}">
                <a16:creationId xmlns:a16="http://schemas.microsoft.com/office/drawing/2014/main" id="{9E4D71E5-B2E6-1C4F-A2C3-7AB77006BBCA}"/>
              </a:ext>
            </a:extLst>
          </p:cNvPr>
          <p:cNvSpPr/>
          <p:nvPr/>
        </p:nvSpPr>
        <p:spPr>
          <a:xfrm>
            <a:off x="1549477" y="4120915"/>
            <a:ext cx="885822" cy="120545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 defTabSz="914112">
              <a:lnSpc>
                <a:spcPts val="14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无线网络</a:t>
            </a:r>
            <a:endParaRPr lang="en-US" altLang="zh-CN" sz="1200" dirty="0">
              <a:solidFill>
                <a:srgbClr val="DDDDDD">
                  <a:lumMod val="10000"/>
                </a:srgbClr>
              </a:solidFill>
              <a:latin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marL="171450" indent="-171450" defTabSz="914112">
              <a:lnSpc>
                <a:spcPts val="14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数据通信</a:t>
            </a:r>
            <a:endParaRPr lang="en-US" altLang="zh-CN" sz="1200" dirty="0">
              <a:solidFill>
                <a:srgbClr val="DDDDDD">
                  <a:lumMod val="10000"/>
                </a:srgbClr>
              </a:solidFill>
              <a:latin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marL="171450" indent="-171450" defTabSz="914112">
              <a:lnSpc>
                <a:spcPts val="14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光传送</a:t>
            </a:r>
            <a:endParaRPr lang="en-US" altLang="zh-CN" sz="1200" dirty="0">
              <a:solidFill>
                <a:srgbClr val="DDDDDD">
                  <a:lumMod val="10000"/>
                </a:srgbClr>
              </a:solidFill>
              <a:latin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marL="171450" indent="-171450" defTabSz="914112">
              <a:lnSpc>
                <a:spcPts val="14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光接入</a:t>
            </a:r>
            <a:endParaRPr lang="en-US" altLang="zh-CN" sz="1200" dirty="0">
              <a:solidFill>
                <a:srgbClr val="DDDDDD">
                  <a:lumMod val="10000"/>
                </a:srgbClr>
              </a:solidFill>
              <a:latin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marL="171450" indent="-171450" defTabSz="914112">
              <a:lnSpc>
                <a:spcPts val="14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核心网</a:t>
            </a:r>
            <a:endParaRPr lang="en-US" altLang="zh-CN" sz="1200" dirty="0">
              <a:solidFill>
                <a:srgbClr val="DDDDDD">
                  <a:lumMod val="10000"/>
                </a:srgbClr>
              </a:solidFill>
              <a:latin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cxnSp>
        <p:nvCxnSpPr>
          <p:cNvPr id="9" name="直接连接符 8"/>
          <p:cNvCxnSpPr>
            <a:cxnSpLocks/>
          </p:cNvCxnSpPr>
          <p:nvPr/>
        </p:nvCxnSpPr>
        <p:spPr>
          <a:xfrm>
            <a:off x="5293911" y="1737080"/>
            <a:ext cx="1438382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组合 27">
            <a:extLst>
              <a:ext uri="{FF2B5EF4-FFF2-40B4-BE49-F238E27FC236}">
                <a16:creationId xmlns:a16="http://schemas.microsoft.com/office/drawing/2014/main" id="{E67D549A-0A2E-4A29-B469-4092CDCFCAEE}"/>
              </a:ext>
            </a:extLst>
          </p:cNvPr>
          <p:cNvGrpSpPr/>
          <p:nvPr/>
        </p:nvGrpSpPr>
        <p:grpSpPr>
          <a:xfrm>
            <a:off x="9468357" y="2041995"/>
            <a:ext cx="1437110" cy="1437111"/>
            <a:chOff x="9427794" y="2041995"/>
            <a:chExt cx="1620000" cy="1620000"/>
          </a:xfrm>
        </p:grpSpPr>
        <p:sp>
          <p:nvSpPr>
            <p:cNvPr id="13" name="椭圆 12"/>
            <p:cNvSpPr>
              <a:spLocks noChangeAspect="1"/>
            </p:cNvSpPr>
            <p:nvPr/>
          </p:nvSpPr>
          <p:spPr>
            <a:xfrm>
              <a:off x="9427794" y="2041995"/>
              <a:ext cx="1620000" cy="1620000"/>
            </a:xfrm>
            <a:prstGeom prst="ellipse">
              <a:avLst/>
            </a:prstGeom>
            <a:gradFill flip="none" rotWithShape="1">
              <a:gsLst>
                <a:gs pos="38000">
                  <a:srgbClr val="666666">
                    <a:lumMod val="60000"/>
                    <a:lumOff val="40000"/>
                    <a:alpha val="2000"/>
                  </a:srgbClr>
                </a:gs>
                <a:gs pos="100000">
                  <a:srgbClr val="666666">
                    <a:lumMod val="60000"/>
                    <a:lumOff val="40000"/>
                    <a:alpha val="15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 algn="ctr">
              <a:gradFill flip="none" rotWithShape="1">
                <a:gsLst>
                  <a:gs pos="0">
                    <a:srgbClr val="666666">
                      <a:lumMod val="60000"/>
                      <a:lumOff val="40000"/>
                      <a:alpha val="80000"/>
                    </a:srgbClr>
                  </a:gs>
                  <a:gs pos="100000">
                    <a:srgbClr val="666666">
                      <a:lumMod val="60000"/>
                      <a:lumOff val="40000"/>
                      <a:alpha val="40000"/>
                    </a:srgbClr>
                  </a:gs>
                </a:gsLst>
                <a:lin ang="0" scaled="0"/>
                <a:tileRect/>
              </a:gra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square" lIns="0" tIns="0" rIns="0" bIns="0" anchor="ctr" anchorCtr="1"/>
            <a:lstStyle/>
            <a:p>
              <a:pPr algn="ctr" defTabSz="914355"/>
              <a:endParaRPr lang="zh-CN" altLang="en-US" sz="1200" b="1" kern="0" spc="50">
                <a:solidFill>
                  <a:sysClr val="windowText" lastClr="000000"/>
                </a:solidFill>
                <a:cs typeface="Arial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24" name="cloud-computing_230772"/>
            <p:cNvSpPr>
              <a:spLocks noChangeAspect="1"/>
            </p:cNvSpPr>
            <p:nvPr/>
          </p:nvSpPr>
          <p:spPr bwMode="auto">
            <a:xfrm>
              <a:off x="9881144" y="2495884"/>
              <a:ext cx="713300" cy="712222"/>
            </a:xfrm>
            <a:custGeom>
              <a:avLst/>
              <a:gdLst>
                <a:gd name="connsiteX0" fmla="*/ 303775 w 607639"/>
                <a:gd name="connsiteY0" fmla="*/ 525773 h 606722"/>
                <a:gd name="connsiteX1" fmla="*/ 273422 w 607639"/>
                <a:gd name="connsiteY1" fmla="*/ 556162 h 606722"/>
                <a:gd name="connsiteX2" fmla="*/ 303775 w 607639"/>
                <a:gd name="connsiteY2" fmla="*/ 586462 h 606722"/>
                <a:gd name="connsiteX3" fmla="*/ 334217 w 607639"/>
                <a:gd name="connsiteY3" fmla="*/ 556162 h 606722"/>
                <a:gd name="connsiteX4" fmla="*/ 303775 w 607639"/>
                <a:gd name="connsiteY4" fmla="*/ 525773 h 606722"/>
                <a:gd name="connsiteX5" fmla="*/ 303775 w 607639"/>
                <a:gd name="connsiteY5" fmla="*/ 505602 h 606722"/>
                <a:gd name="connsiteX6" fmla="*/ 352287 w 607639"/>
                <a:gd name="connsiteY6" fmla="*/ 541323 h 606722"/>
                <a:gd name="connsiteX7" fmla="*/ 365550 w 607639"/>
                <a:gd name="connsiteY7" fmla="*/ 534925 h 606722"/>
                <a:gd name="connsiteX8" fmla="*/ 378724 w 607639"/>
                <a:gd name="connsiteY8" fmla="*/ 539990 h 606722"/>
                <a:gd name="connsiteX9" fmla="*/ 373650 w 607639"/>
                <a:gd name="connsiteY9" fmla="*/ 553141 h 606722"/>
                <a:gd name="connsiteX10" fmla="*/ 354067 w 607639"/>
                <a:gd name="connsiteY10" fmla="*/ 562560 h 606722"/>
                <a:gd name="connsiteX11" fmla="*/ 303775 w 607639"/>
                <a:gd name="connsiteY11" fmla="*/ 606722 h 606722"/>
                <a:gd name="connsiteX12" fmla="*/ 253572 w 607639"/>
                <a:gd name="connsiteY12" fmla="*/ 562560 h 606722"/>
                <a:gd name="connsiteX13" fmla="*/ 233900 w 607639"/>
                <a:gd name="connsiteY13" fmla="*/ 553141 h 606722"/>
                <a:gd name="connsiteX14" fmla="*/ 228826 w 607639"/>
                <a:gd name="connsiteY14" fmla="*/ 539990 h 606722"/>
                <a:gd name="connsiteX15" fmla="*/ 242000 w 607639"/>
                <a:gd name="connsiteY15" fmla="*/ 534925 h 606722"/>
                <a:gd name="connsiteX16" fmla="*/ 255352 w 607639"/>
                <a:gd name="connsiteY16" fmla="*/ 541323 h 606722"/>
                <a:gd name="connsiteX17" fmla="*/ 303775 w 607639"/>
                <a:gd name="connsiteY17" fmla="*/ 505602 h 606722"/>
                <a:gd name="connsiteX18" fmla="*/ 429338 w 607639"/>
                <a:gd name="connsiteY18" fmla="*/ 504614 h 606722"/>
                <a:gd name="connsiteX19" fmla="*/ 442514 w 607639"/>
                <a:gd name="connsiteY19" fmla="*/ 509597 h 606722"/>
                <a:gd name="connsiteX20" fmla="*/ 437440 w 607639"/>
                <a:gd name="connsiteY20" fmla="*/ 522766 h 606722"/>
                <a:gd name="connsiteX21" fmla="*/ 411087 w 607639"/>
                <a:gd name="connsiteY21" fmla="*/ 535935 h 606722"/>
                <a:gd name="connsiteX22" fmla="*/ 406013 w 607639"/>
                <a:gd name="connsiteY22" fmla="*/ 537003 h 606722"/>
                <a:gd name="connsiteX23" fmla="*/ 396932 w 607639"/>
                <a:gd name="connsiteY23" fmla="*/ 530863 h 606722"/>
                <a:gd name="connsiteX24" fmla="*/ 402006 w 607639"/>
                <a:gd name="connsiteY24" fmla="*/ 517694 h 606722"/>
                <a:gd name="connsiteX25" fmla="*/ 178196 w 607639"/>
                <a:gd name="connsiteY25" fmla="*/ 504614 h 606722"/>
                <a:gd name="connsiteX26" fmla="*/ 205588 w 607639"/>
                <a:gd name="connsiteY26" fmla="*/ 517694 h 606722"/>
                <a:gd name="connsiteX27" fmla="*/ 210657 w 607639"/>
                <a:gd name="connsiteY27" fmla="*/ 530863 h 606722"/>
                <a:gd name="connsiteX28" fmla="*/ 201497 w 607639"/>
                <a:gd name="connsiteY28" fmla="*/ 537003 h 606722"/>
                <a:gd name="connsiteX29" fmla="*/ 197495 w 607639"/>
                <a:gd name="connsiteY29" fmla="*/ 535935 h 606722"/>
                <a:gd name="connsiteX30" fmla="*/ 170103 w 607639"/>
                <a:gd name="connsiteY30" fmla="*/ 522766 h 606722"/>
                <a:gd name="connsiteX31" fmla="*/ 165123 w 607639"/>
                <a:gd name="connsiteY31" fmla="*/ 509597 h 606722"/>
                <a:gd name="connsiteX32" fmla="*/ 178196 w 607639"/>
                <a:gd name="connsiteY32" fmla="*/ 504614 h 606722"/>
                <a:gd name="connsiteX33" fmla="*/ 50634 w 607639"/>
                <a:gd name="connsiteY33" fmla="*/ 424743 h 606722"/>
                <a:gd name="connsiteX34" fmla="*/ 20289 w 607639"/>
                <a:gd name="connsiteY34" fmla="*/ 455043 h 606722"/>
                <a:gd name="connsiteX35" fmla="*/ 50634 w 607639"/>
                <a:gd name="connsiteY35" fmla="*/ 485343 h 606722"/>
                <a:gd name="connsiteX36" fmla="*/ 80979 w 607639"/>
                <a:gd name="connsiteY36" fmla="*/ 455043 h 606722"/>
                <a:gd name="connsiteX37" fmla="*/ 50634 w 607639"/>
                <a:gd name="connsiteY37" fmla="*/ 424743 h 606722"/>
                <a:gd name="connsiteX38" fmla="*/ 556979 w 607639"/>
                <a:gd name="connsiteY38" fmla="*/ 424714 h 606722"/>
                <a:gd name="connsiteX39" fmla="*/ 526530 w 607639"/>
                <a:gd name="connsiteY39" fmla="*/ 455025 h 606722"/>
                <a:gd name="connsiteX40" fmla="*/ 556979 w 607639"/>
                <a:gd name="connsiteY40" fmla="*/ 485335 h 606722"/>
                <a:gd name="connsiteX41" fmla="*/ 587340 w 607639"/>
                <a:gd name="connsiteY41" fmla="*/ 455025 h 606722"/>
                <a:gd name="connsiteX42" fmla="*/ 556979 w 607639"/>
                <a:gd name="connsiteY42" fmla="*/ 424714 h 606722"/>
                <a:gd name="connsiteX43" fmla="*/ 556979 w 607639"/>
                <a:gd name="connsiteY43" fmla="*/ 374138 h 606722"/>
                <a:gd name="connsiteX44" fmla="*/ 567129 w 607639"/>
                <a:gd name="connsiteY44" fmla="*/ 384271 h 606722"/>
                <a:gd name="connsiteX45" fmla="*/ 567129 w 607639"/>
                <a:gd name="connsiteY45" fmla="*/ 405426 h 606722"/>
                <a:gd name="connsiteX46" fmla="*/ 607639 w 607639"/>
                <a:gd name="connsiteY46" fmla="*/ 455025 h 606722"/>
                <a:gd name="connsiteX47" fmla="*/ 556979 w 607639"/>
                <a:gd name="connsiteY47" fmla="*/ 505601 h 606722"/>
                <a:gd name="connsiteX48" fmla="*/ 516737 w 607639"/>
                <a:gd name="connsiteY48" fmla="*/ 486135 h 606722"/>
                <a:gd name="connsiteX49" fmla="*/ 484062 w 607639"/>
                <a:gd name="connsiteY49" fmla="*/ 501512 h 606722"/>
                <a:gd name="connsiteX50" fmla="*/ 479966 w 607639"/>
                <a:gd name="connsiteY50" fmla="*/ 502579 h 606722"/>
                <a:gd name="connsiteX51" fmla="*/ 470885 w 607639"/>
                <a:gd name="connsiteY51" fmla="*/ 496535 h 606722"/>
                <a:gd name="connsiteX52" fmla="*/ 475960 w 607639"/>
                <a:gd name="connsiteY52" fmla="*/ 483379 h 606722"/>
                <a:gd name="connsiteX53" fmla="*/ 508011 w 607639"/>
                <a:gd name="connsiteY53" fmla="*/ 468180 h 606722"/>
                <a:gd name="connsiteX54" fmla="*/ 506320 w 607639"/>
                <a:gd name="connsiteY54" fmla="*/ 455025 h 606722"/>
                <a:gd name="connsiteX55" fmla="*/ 508278 w 607639"/>
                <a:gd name="connsiteY55" fmla="*/ 440803 h 606722"/>
                <a:gd name="connsiteX56" fmla="*/ 495191 w 607639"/>
                <a:gd name="connsiteY56" fmla="*/ 427737 h 606722"/>
                <a:gd name="connsiteX57" fmla="*/ 495191 w 607639"/>
                <a:gd name="connsiteY57" fmla="*/ 413604 h 606722"/>
                <a:gd name="connsiteX58" fmla="*/ 509347 w 607639"/>
                <a:gd name="connsiteY58" fmla="*/ 413604 h 606722"/>
                <a:gd name="connsiteX59" fmla="*/ 518072 w 607639"/>
                <a:gd name="connsiteY59" fmla="*/ 422314 h 606722"/>
                <a:gd name="connsiteX60" fmla="*/ 546830 w 607639"/>
                <a:gd name="connsiteY60" fmla="*/ 405426 h 606722"/>
                <a:gd name="connsiteX61" fmla="*/ 546830 w 607639"/>
                <a:gd name="connsiteY61" fmla="*/ 384271 h 606722"/>
                <a:gd name="connsiteX62" fmla="*/ 556979 w 607639"/>
                <a:gd name="connsiteY62" fmla="*/ 374138 h 606722"/>
                <a:gd name="connsiteX63" fmla="*/ 50634 w 607639"/>
                <a:gd name="connsiteY63" fmla="*/ 343795 h 606722"/>
                <a:gd name="connsiteX64" fmla="*/ 60779 w 607639"/>
                <a:gd name="connsiteY64" fmla="*/ 353925 h 606722"/>
                <a:gd name="connsiteX65" fmla="*/ 60779 w 607639"/>
                <a:gd name="connsiteY65" fmla="*/ 405461 h 606722"/>
                <a:gd name="connsiteX66" fmla="*/ 80178 w 607639"/>
                <a:gd name="connsiteY66" fmla="*/ 413725 h 606722"/>
                <a:gd name="connsiteX67" fmla="*/ 101268 w 607639"/>
                <a:gd name="connsiteY67" fmla="*/ 399419 h 606722"/>
                <a:gd name="connsiteX68" fmla="*/ 115417 w 607639"/>
                <a:gd name="connsiteY68" fmla="*/ 402440 h 606722"/>
                <a:gd name="connsiteX69" fmla="*/ 112392 w 607639"/>
                <a:gd name="connsiteY69" fmla="*/ 416657 h 606722"/>
                <a:gd name="connsiteX70" fmla="*/ 94149 w 607639"/>
                <a:gd name="connsiteY70" fmla="*/ 429008 h 606722"/>
                <a:gd name="connsiteX71" fmla="*/ 101268 w 607639"/>
                <a:gd name="connsiteY71" fmla="*/ 455043 h 606722"/>
                <a:gd name="connsiteX72" fmla="*/ 99577 w 607639"/>
                <a:gd name="connsiteY72" fmla="*/ 468194 h 606722"/>
                <a:gd name="connsiteX73" fmla="*/ 131613 w 607639"/>
                <a:gd name="connsiteY73" fmla="*/ 483388 h 606722"/>
                <a:gd name="connsiteX74" fmla="*/ 136685 w 607639"/>
                <a:gd name="connsiteY74" fmla="*/ 496450 h 606722"/>
                <a:gd name="connsiteX75" fmla="*/ 127609 w 607639"/>
                <a:gd name="connsiteY75" fmla="*/ 502581 h 606722"/>
                <a:gd name="connsiteX76" fmla="*/ 123515 w 607639"/>
                <a:gd name="connsiteY76" fmla="*/ 501515 h 606722"/>
                <a:gd name="connsiteX77" fmla="*/ 90768 w 607639"/>
                <a:gd name="connsiteY77" fmla="*/ 486143 h 606722"/>
                <a:gd name="connsiteX78" fmla="*/ 50634 w 607639"/>
                <a:gd name="connsiteY78" fmla="*/ 505602 h 606722"/>
                <a:gd name="connsiteX79" fmla="*/ 0 w 607639"/>
                <a:gd name="connsiteY79" fmla="*/ 455043 h 606722"/>
                <a:gd name="connsiteX80" fmla="*/ 40489 w 607639"/>
                <a:gd name="connsiteY80" fmla="*/ 405461 h 606722"/>
                <a:gd name="connsiteX81" fmla="*/ 40489 w 607639"/>
                <a:gd name="connsiteY81" fmla="*/ 353925 h 606722"/>
                <a:gd name="connsiteX82" fmla="*/ 50634 w 607639"/>
                <a:gd name="connsiteY82" fmla="*/ 343795 h 606722"/>
                <a:gd name="connsiteX83" fmla="*/ 556974 w 607639"/>
                <a:gd name="connsiteY83" fmla="*/ 313452 h 606722"/>
                <a:gd name="connsiteX84" fmla="*/ 567135 w 607639"/>
                <a:gd name="connsiteY84" fmla="*/ 323589 h 606722"/>
                <a:gd name="connsiteX85" fmla="*/ 567135 w 607639"/>
                <a:gd name="connsiteY85" fmla="*/ 353910 h 606722"/>
                <a:gd name="connsiteX86" fmla="*/ 556974 w 607639"/>
                <a:gd name="connsiteY86" fmla="*/ 364047 h 606722"/>
                <a:gd name="connsiteX87" fmla="*/ 546812 w 607639"/>
                <a:gd name="connsiteY87" fmla="*/ 353910 h 606722"/>
                <a:gd name="connsiteX88" fmla="*/ 546812 w 607639"/>
                <a:gd name="connsiteY88" fmla="*/ 323589 h 606722"/>
                <a:gd name="connsiteX89" fmla="*/ 556974 w 607639"/>
                <a:gd name="connsiteY89" fmla="*/ 313452 h 606722"/>
                <a:gd name="connsiteX90" fmla="*/ 50631 w 607639"/>
                <a:gd name="connsiteY90" fmla="*/ 273018 h 606722"/>
                <a:gd name="connsiteX91" fmla="*/ 60757 w 607639"/>
                <a:gd name="connsiteY91" fmla="*/ 283155 h 606722"/>
                <a:gd name="connsiteX92" fmla="*/ 60757 w 607639"/>
                <a:gd name="connsiteY92" fmla="*/ 313476 h 606722"/>
                <a:gd name="connsiteX93" fmla="*/ 50631 w 607639"/>
                <a:gd name="connsiteY93" fmla="*/ 323613 h 606722"/>
                <a:gd name="connsiteX94" fmla="*/ 40505 w 607639"/>
                <a:gd name="connsiteY94" fmla="*/ 313476 h 606722"/>
                <a:gd name="connsiteX95" fmla="*/ 40505 w 607639"/>
                <a:gd name="connsiteY95" fmla="*/ 283155 h 606722"/>
                <a:gd name="connsiteX96" fmla="*/ 50631 w 607639"/>
                <a:gd name="connsiteY96" fmla="*/ 273018 h 606722"/>
                <a:gd name="connsiteX97" fmla="*/ 556974 w 607639"/>
                <a:gd name="connsiteY97" fmla="*/ 242745 h 606722"/>
                <a:gd name="connsiteX98" fmla="*/ 567135 w 607639"/>
                <a:gd name="connsiteY98" fmla="*/ 252779 h 606722"/>
                <a:gd name="connsiteX99" fmla="*/ 567135 w 607639"/>
                <a:gd name="connsiteY99" fmla="*/ 283147 h 606722"/>
                <a:gd name="connsiteX100" fmla="*/ 556974 w 607639"/>
                <a:gd name="connsiteY100" fmla="*/ 293270 h 606722"/>
                <a:gd name="connsiteX101" fmla="*/ 546812 w 607639"/>
                <a:gd name="connsiteY101" fmla="*/ 283147 h 606722"/>
                <a:gd name="connsiteX102" fmla="*/ 546812 w 607639"/>
                <a:gd name="connsiteY102" fmla="*/ 252779 h 606722"/>
                <a:gd name="connsiteX103" fmla="*/ 556974 w 607639"/>
                <a:gd name="connsiteY103" fmla="*/ 242745 h 606722"/>
                <a:gd name="connsiteX104" fmla="*/ 329136 w 607639"/>
                <a:gd name="connsiteY104" fmla="*/ 170920 h 606722"/>
                <a:gd name="connsiteX105" fmla="*/ 254103 w 607639"/>
                <a:gd name="connsiteY105" fmla="*/ 207797 h 606722"/>
                <a:gd name="connsiteX106" fmla="*/ 273417 w 607639"/>
                <a:gd name="connsiteY106" fmla="*/ 252759 h 606722"/>
                <a:gd name="connsiteX107" fmla="*/ 263270 w 607639"/>
                <a:gd name="connsiteY107" fmla="*/ 262889 h 606722"/>
                <a:gd name="connsiteX108" fmla="*/ 253124 w 607639"/>
                <a:gd name="connsiteY108" fmla="*/ 252759 h 606722"/>
                <a:gd name="connsiteX109" fmla="*/ 212625 w 607639"/>
                <a:gd name="connsiteY109" fmla="*/ 212329 h 606722"/>
                <a:gd name="connsiteX110" fmla="*/ 173194 w 607639"/>
                <a:gd name="connsiteY110" fmla="*/ 250805 h 606722"/>
                <a:gd name="connsiteX111" fmla="*/ 173194 w 607639"/>
                <a:gd name="connsiteY111" fmla="*/ 253826 h 606722"/>
                <a:gd name="connsiteX112" fmla="*/ 173194 w 607639"/>
                <a:gd name="connsiteY112" fmla="*/ 254803 h 606722"/>
                <a:gd name="connsiteX113" fmla="*/ 173194 w 607639"/>
                <a:gd name="connsiteY113" fmla="*/ 257824 h 606722"/>
                <a:gd name="connsiteX114" fmla="*/ 173194 w 607639"/>
                <a:gd name="connsiteY114" fmla="*/ 263956 h 606722"/>
                <a:gd name="connsiteX115" fmla="*/ 167053 w 607639"/>
                <a:gd name="connsiteY115" fmla="*/ 266977 h 606722"/>
                <a:gd name="connsiteX116" fmla="*/ 131628 w 607639"/>
                <a:gd name="connsiteY116" fmla="*/ 326601 h 606722"/>
                <a:gd name="connsiteX117" fmla="*/ 194467 w 607639"/>
                <a:gd name="connsiteY117" fmla="*/ 394312 h 606722"/>
                <a:gd name="connsiteX118" fmla="*/ 419212 w 607639"/>
                <a:gd name="connsiteY118" fmla="*/ 394312 h 606722"/>
                <a:gd name="connsiteX119" fmla="*/ 456418 w 607639"/>
                <a:gd name="connsiteY119" fmla="*/ 380628 h 606722"/>
                <a:gd name="connsiteX120" fmla="*/ 458732 w 607639"/>
                <a:gd name="connsiteY120" fmla="*/ 377162 h 606722"/>
                <a:gd name="connsiteX121" fmla="*/ 461936 w 607639"/>
                <a:gd name="connsiteY121" fmla="*/ 374941 h 606722"/>
                <a:gd name="connsiteX122" fmla="*/ 475999 w 607639"/>
                <a:gd name="connsiteY122" fmla="*/ 334688 h 606722"/>
                <a:gd name="connsiteX123" fmla="*/ 429359 w 607639"/>
                <a:gd name="connsiteY123" fmla="*/ 273019 h 606722"/>
                <a:gd name="connsiteX124" fmla="*/ 421259 w 607639"/>
                <a:gd name="connsiteY124" fmla="*/ 270976 h 606722"/>
                <a:gd name="connsiteX125" fmla="*/ 421259 w 607639"/>
                <a:gd name="connsiteY125" fmla="*/ 262889 h 606722"/>
                <a:gd name="connsiteX126" fmla="*/ 329136 w 607639"/>
                <a:gd name="connsiteY126" fmla="*/ 170920 h 606722"/>
                <a:gd name="connsiteX127" fmla="*/ 329136 w 607639"/>
                <a:gd name="connsiteY127" fmla="*/ 152704 h 606722"/>
                <a:gd name="connsiteX128" fmla="*/ 421348 w 607639"/>
                <a:gd name="connsiteY128" fmla="*/ 202643 h 606722"/>
                <a:gd name="connsiteX129" fmla="*/ 449653 w 607639"/>
                <a:gd name="connsiteY129" fmla="*/ 187093 h 606722"/>
                <a:gd name="connsiteX130" fmla="*/ 463805 w 607639"/>
                <a:gd name="connsiteY130" fmla="*/ 191091 h 606722"/>
                <a:gd name="connsiteX131" fmla="*/ 459800 w 607639"/>
                <a:gd name="connsiteY131" fmla="*/ 205309 h 606722"/>
                <a:gd name="connsiteX132" fmla="*/ 431406 w 607639"/>
                <a:gd name="connsiteY132" fmla="*/ 220948 h 606722"/>
                <a:gd name="connsiteX133" fmla="*/ 440485 w 607639"/>
                <a:gd name="connsiteY133" fmla="*/ 256847 h 606722"/>
                <a:gd name="connsiteX134" fmla="*/ 495225 w 607639"/>
                <a:gd name="connsiteY134" fmla="*/ 335665 h 606722"/>
                <a:gd name="connsiteX135" fmla="*/ 480183 w 607639"/>
                <a:gd name="connsiteY135" fmla="*/ 384360 h 606722"/>
                <a:gd name="connsiteX136" fmla="*/ 488104 w 607639"/>
                <a:gd name="connsiteY136" fmla="*/ 392357 h 606722"/>
                <a:gd name="connsiteX137" fmla="*/ 488104 w 607639"/>
                <a:gd name="connsiteY137" fmla="*/ 406486 h 606722"/>
                <a:gd name="connsiteX138" fmla="*/ 480984 w 607639"/>
                <a:gd name="connsiteY138" fmla="*/ 409507 h 606722"/>
                <a:gd name="connsiteX139" fmla="*/ 473952 w 607639"/>
                <a:gd name="connsiteY139" fmla="*/ 406486 h 606722"/>
                <a:gd name="connsiteX140" fmla="*/ 466208 w 607639"/>
                <a:gd name="connsiteY140" fmla="*/ 398755 h 606722"/>
                <a:gd name="connsiteX141" fmla="*/ 419212 w 607639"/>
                <a:gd name="connsiteY141" fmla="*/ 414572 h 606722"/>
                <a:gd name="connsiteX142" fmla="*/ 194467 w 607639"/>
                <a:gd name="connsiteY142" fmla="*/ 414572 h 606722"/>
                <a:gd name="connsiteX143" fmla="*/ 142665 w 607639"/>
                <a:gd name="connsiteY143" fmla="*/ 395201 h 606722"/>
                <a:gd name="connsiteX144" fmla="*/ 139728 w 607639"/>
                <a:gd name="connsiteY144" fmla="*/ 395378 h 606722"/>
                <a:gd name="connsiteX145" fmla="*/ 131628 w 607639"/>
                <a:gd name="connsiteY145" fmla="*/ 391291 h 606722"/>
                <a:gd name="connsiteX146" fmla="*/ 130382 w 607639"/>
                <a:gd name="connsiteY146" fmla="*/ 382494 h 606722"/>
                <a:gd name="connsiteX147" fmla="*/ 111423 w 607639"/>
                <a:gd name="connsiteY147" fmla="*/ 326601 h 606722"/>
                <a:gd name="connsiteX148" fmla="*/ 152901 w 607639"/>
                <a:gd name="connsiteY148" fmla="*/ 251782 h 606722"/>
                <a:gd name="connsiteX149" fmla="*/ 152901 w 607639"/>
                <a:gd name="connsiteY149" fmla="*/ 251160 h 606722"/>
                <a:gd name="connsiteX150" fmla="*/ 152901 w 607639"/>
                <a:gd name="connsiteY150" fmla="*/ 250805 h 606722"/>
                <a:gd name="connsiteX151" fmla="*/ 162603 w 607639"/>
                <a:gd name="connsiteY151" fmla="*/ 217660 h 606722"/>
                <a:gd name="connsiteX152" fmla="*/ 145780 w 607639"/>
                <a:gd name="connsiteY152" fmla="*/ 207264 h 606722"/>
                <a:gd name="connsiteX153" fmla="*/ 142754 w 607639"/>
                <a:gd name="connsiteY153" fmla="*/ 193135 h 606722"/>
                <a:gd name="connsiteX154" fmla="*/ 156995 w 607639"/>
                <a:gd name="connsiteY154" fmla="*/ 190114 h 606722"/>
                <a:gd name="connsiteX155" fmla="*/ 177378 w 607639"/>
                <a:gd name="connsiteY155" fmla="*/ 202732 h 606722"/>
                <a:gd name="connsiteX156" fmla="*/ 212625 w 607639"/>
                <a:gd name="connsiteY156" fmla="*/ 192157 h 606722"/>
                <a:gd name="connsiteX157" fmla="*/ 232474 w 607639"/>
                <a:gd name="connsiteY157" fmla="*/ 195268 h 606722"/>
                <a:gd name="connsiteX158" fmla="*/ 238971 w 607639"/>
                <a:gd name="connsiteY158" fmla="*/ 197222 h 606722"/>
                <a:gd name="connsiteX159" fmla="*/ 329136 w 607639"/>
                <a:gd name="connsiteY159" fmla="*/ 152704 h 606722"/>
                <a:gd name="connsiteX160" fmla="*/ 556980 w 607639"/>
                <a:gd name="connsiteY160" fmla="*/ 111274 h 606722"/>
                <a:gd name="connsiteX161" fmla="*/ 526531 w 607639"/>
                <a:gd name="connsiteY161" fmla="*/ 141579 h 606722"/>
                <a:gd name="connsiteX162" fmla="*/ 556980 w 607639"/>
                <a:gd name="connsiteY162" fmla="*/ 171884 h 606722"/>
                <a:gd name="connsiteX163" fmla="*/ 587340 w 607639"/>
                <a:gd name="connsiteY163" fmla="*/ 141579 h 606722"/>
                <a:gd name="connsiteX164" fmla="*/ 556980 w 607639"/>
                <a:gd name="connsiteY164" fmla="*/ 111274 h 606722"/>
                <a:gd name="connsiteX165" fmla="*/ 50637 w 607639"/>
                <a:gd name="connsiteY165" fmla="*/ 111268 h 606722"/>
                <a:gd name="connsiteX166" fmla="*/ 20291 w 607639"/>
                <a:gd name="connsiteY166" fmla="*/ 141575 h 606722"/>
                <a:gd name="connsiteX167" fmla="*/ 50637 w 607639"/>
                <a:gd name="connsiteY167" fmla="*/ 171882 h 606722"/>
                <a:gd name="connsiteX168" fmla="*/ 80984 w 607639"/>
                <a:gd name="connsiteY168" fmla="*/ 141575 h 606722"/>
                <a:gd name="connsiteX169" fmla="*/ 50637 w 607639"/>
                <a:gd name="connsiteY169" fmla="*/ 111268 h 606722"/>
                <a:gd name="connsiteX170" fmla="*/ 124502 w 607639"/>
                <a:gd name="connsiteY170" fmla="*/ 86916 h 606722"/>
                <a:gd name="connsiteX171" fmla="*/ 137673 w 607639"/>
                <a:gd name="connsiteY171" fmla="*/ 91982 h 606722"/>
                <a:gd name="connsiteX172" fmla="*/ 132601 w 607639"/>
                <a:gd name="connsiteY172" fmla="*/ 105136 h 606722"/>
                <a:gd name="connsiteX173" fmla="*/ 96469 w 607639"/>
                <a:gd name="connsiteY173" fmla="*/ 119800 h 606722"/>
                <a:gd name="connsiteX174" fmla="*/ 101275 w 607639"/>
                <a:gd name="connsiteY174" fmla="*/ 141575 h 606722"/>
                <a:gd name="connsiteX175" fmla="*/ 99673 w 607639"/>
                <a:gd name="connsiteY175" fmla="*/ 154284 h 606722"/>
                <a:gd name="connsiteX176" fmla="*/ 122544 w 607639"/>
                <a:gd name="connsiteY176" fmla="*/ 168860 h 606722"/>
                <a:gd name="connsiteX177" fmla="*/ 125570 w 607639"/>
                <a:gd name="connsiteY177" fmla="*/ 182991 h 606722"/>
                <a:gd name="connsiteX178" fmla="*/ 116404 w 607639"/>
                <a:gd name="connsiteY178" fmla="*/ 188057 h 606722"/>
                <a:gd name="connsiteX179" fmla="*/ 111420 w 607639"/>
                <a:gd name="connsiteY179" fmla="*/ 186102 h 606722"/>
                <a:gd name="connsiteX180" fmla="*/ 90685 w 607639"/>
                <a:gd name="connsiteY180" fmla="*/ 172859 h 606722"/>
                <a:gd name="connsiteX181" fmla="*/ 60783 w 607639"/>
                <a:gd name="connsiteY181" fmla="*/ 191168 h 606722"/>
                <a:gd name="connsiteX182" fmla="*/ 60783 w 607639"/>
                <a:gd name="connsiteY182" fmla="*/ 222452 h 606722"/>
                <a:gd name="connsiteX183" fmla="*/ 50637 w 607639"/>
                <a:gd name="connsiteY183" fmla="*/ 232584 h 606722"/>
                <a:gd name="connsiteX184" fmla="*/ 40492 w 607639"/>
                <a:gd name="connsiteY184" fmla="*/ 222452 h 606722"/>
                <a:gd name="connsiteX185" fmla="*/ 40492 w 607639"/>
                <a:gd name="connsiteY185" fmla="*/ 191168 h 606722"/>
                <a:gd name="connsiteX186" fmla="*/ 0 w 607639"/>
                <a:gd name="connsiteY186" fmla="*/ 141575 h 606722"/>
                <a:gd name="connsiteX187" fmla="*/ 50637 w 607639"/>
                <a:gd name="connsiteY187" fmla="*/ 91005 h 606722"/>
                <a:gd name="connsiteX188" fmla="*/ 84455 w 607639"/>
                <a:gd name="connsiteY188" fmla="*/ 103714 h 606722"/>
                <a:gd name="connsiteX189" fmla="*/ 87125 w 607639"/>
                <a:gd name="connsiteY189" fmla="*/ 102114 h 606722"/>
                <a:gd name="connsiteX190" fmla="*/ 475270 w 607639"/>
                <a:gd name="connsiteY190" fmla="*/ 86424 h 606722"/>
                <a:gd name="connsiteX191" fmla="*/ 482994 w 607639"/>
                <a:gd name="connsiteY191" fmla="*/ 86924 h 606722"/>
                <a:gd name="connsiteX192" fmla="*/ 520476 w 607639"/>
                <a:gd name="connsiteY192" fmla="*/ 102121 h 606722"/>
                <a:gd name="connsiteX193" fmla="*/ 523147 w 607639"/>
                <a:gd name="connsiteY193" fmla="*/ 103720 h 606722"/>
                <a:gd name="connsiteX194" fmla="*/ 556980 w 607639"/>
                <a:gd name="connsiteY194" fmla="*/ 91012 h 606722"/>
                <a:gd name="connsiteX195" fmla="*/ 607639 w 607639"/>
                <a:gd name="connsiteY195" fmla="*/ 141579 h 606722"/>
                <a:gd name="connsiteX196" fmla="*/ 567129 w 607639"/>
                <a:gd name="connsiteY196" fmla="*/ 191169 h 606722"/>
                <a:gd name="connsiteX197" fmla="*/ 567129 w 607639"/>
                <a:gd name="connsiteY197" fmla="*/ 222452 h 606722"/>
                <a:gd name="connsiteX198" fmla="*/ 556980 w 607639"/>
                <a:gd name="connsiteY198" fmla="*/ 232583 h 606722"/>
                <a:gd name="connsiteX199" fmla="*/ 546830 w 607639"/>
                <a:gd name="connsiteY199" fmla="*/ 222452 h 606722"/>
                <a:gd name="connsiteX200" fmla="*/ 546830 w 607639"/>
                <a:gd name="connsiteY200" fmla="*/ 191169 h 606722"/>
                <a:gd name="connsiteX201" fmla="*/ 517271 w 607639"/>
                <a:gd name="connsiteY201" fmla="*/ 173306 h 606722"/>
                <a:gd name="connsiteX202" fmla="*/ 495191 w 607639"/>
                <a:gd name="connsiteY202" fmla="*/ 186104 h 606722"/>
                <a:gd name="connsiteX203" fmla="*/ 490116 w 607639"/>
                <a:gd name="connsiteY203" fmla="*/ 187081 h 606722"/>
                <a:gd name="connsiteX204" fmla="*/ 480946 w 607639"/>
                <a:gd name="connsiteY204" fmla="*/ 182015 h 606722"/>
                <a:gd name="connsiteX205" fmla="*/ 485042 w 607639"/>
                <a:gd name="connsiteY205" fmla="*/ 167885 h 606722"/>
                <a:gd name="connsiteX206" fmla="*/ 508012 w 607639"/>
                <a:gd name="connsiteY206" fmla="*/ 154643 h 606722"/>
                <a:gd name="connsiteX207" fmla="*/ 506320 w 607639"/>
                <a:gd name="connsiteY207" fmla="*/ 141579 h 606722"/>
                <a:gd name="connsiteX208" fmla="*/ 511128 w 607639"/>
                <a:gd name="connsiteY208" fmla="*/ 119806 h 606722"/>
                <a:gd name="connsiteX209" fmla="*/ 474892 w 607639"/>
                <a:gd name="connsiteY209" fmla="*/ 105142 h 606722"/>
                <a:gd name="connsiteX210" fmla="*/ 469817 w 607639"/>
                <a:gd name="connsiteY210" fmla="*/ 91989 h 606722"/>
                <a:gd name="connsiteX211" fmla="*/ 475270 w 607639"/>
                <a:gd name="connsiteY211" fmla="*/ 86424 h 606722"/>
                <a:gd name="connsiteX212" fmla="*/ 199455 w 607639"/>
                <a:gd name="connsiteY212" fmla="*/ 56594 h 606722"/>
                <a:gd name="connsiteX213" fmla="*/ 212615 w 607639"/>
                <a:gd name="connsiteY213" fmla="*/ 61666 h 606722"/>
                <a:gd name="connsiteX214" fmla="*/ 207546 w 607639"/>
                <a:gd name="connsiteY214" fmla="*/ 74835 h 606722"/>
                <a:gd name="connsiteX215" fmla="*/ 179270 w 607639"/>
                <a:gd name="connsiteY215" fmla="*/ 85958 h 606722"/>
                <a:gd name="connsiteX216" fmla="*/ 175180 w 607639"/>
                <a:gd name="connsiteY216" fmla="*/ 86937 h 606722"/>
                <a:gd name="connsiteX217" fmla="*/ 166110 w 607639"/>
                <a:gd name="connsiteY217" fmla="*/ 80886 h 606722"/>
                <a:gd name="connsiteX218" fmla="*/ 171179 w 607639"/>
                <a:gd name="connsiteY218" fmla="*/ 67717 h 606722"/>
                <a:gd name="connsiteX219" fmla="*/ 400383 w 607639"/>
                <a:gd name="connsiteY219" fmla="*/ 56084 h 606722"/>
                <a:gd name="connsiteX220" fmla="*/ 408098 w 607639"/>
                <a:gd name="connsiteY220" fmla="*/ 56585 h 606722"/>
                <a:gd name="connsiteX221" fmla="*/ 436469 w 607639"/>
                <a:gd name="connsiteY221" fmla="*/ 67711 h 606722"/>
                <a:gd name="connsiteX222" fmla="*/ 441538 w 607639"/>
                <a:gd name="connsiteY222" fmla="*/ 80884 h 606722"/>
                <a:gd name="connsiteX223" fmla="*/ 432378 w 607639"/>
                <a:gd name="connsiteY223" fmla="*/ 86936 h 606722"/>
                <a:gd name="connsiteX224" fmla="*/ 428376 w 607639"/>
                <a:gd name="connsiteY224" fmla="*/ 85957 h 606722"/>
                <a:gd name="connsiteX225" fmla="*/ 400005 w 607639"/>
                <a:gd name="connsiteY225" fmla="*/ 74831 h 606722"/>
                <a:gd name="connsiteX226" fmla="*/ 394936 w 607639"/>
                <a:gd name="connsiteY226" fmla="*/ 61658 h 606722"/>
                <a:gd name="connsiteX227" fmla="*/ 400383 w 607639"/>
                <a:gd name="connsiteY227" fmla="*/ 56084 h 606722"/>
                <a:gd name="connsiteX228" fmla="*/ 303779 w 607639"/>
                <a:gd name="connsiteY228" fmla="*/ 20260 h 606722"/>
                <a:gd name="connsiteX229" fmla="*/ 273427 w 607639"/>
                <a:gd name="connsiteY229" fmla="*/ 50560 h 606722"/>
                <a:gd name="connsiteX230" fmla="*/ 303779 w 607639"/>
                <a:gd name="connsiteY230" fmla="*/ 80860 h 606722"/>
                <a:gd name="connsiteX231" fmla="*/ 334221 w 607639"/>
                <a:gd name="connsiteY231" fmla="*/ 50560 h 606722"/>
                <a:gd name="connsiteX232" fmla="*/ 303779 w 607639"/>
                <a:gd name="connsiteY232" fmla="*/ 20260 h 606722"/>
                <a:gd name="connsiteX233" fmla="*/ 303779 w 607639"/>
                <a:gd name="connsiteY233" fmla="*/ 0 h 606722"/>
                <a:gd name="connsiteX234" fmla="*/ 351221 w 607639"/>
                <a:gd name="connsiteY234" fmla="*/ 32522 h 606722"/>
                <a:gd name="connsiteX235" fmla="*/ 370625 w 607639"/>
                <a:gd name="connsiteY235" fmla="*/ 40430 h 606722"/>
                <a:gd name="connsiteX236" fmla="*/ 375699 w 607639"/>
                <a:gd name="connsiteY236" fmla="*/ 53581 h 606722"/>
                <a:gd name="connsiteX237" fmla="*/ 366620 w 607639"/>
                <a:gd name="connsiteY237" fmla="*/ 59623 h 606722"/>
                <a:gd name="connsiteX238" fmla="*/ 362525 w 607639"/>
                <a:gd name="connsiteY238" fmla="*/ 58646 h 606722"/>
                <a:gd name="connsiteX239" fmla="*/ 354248 w 607639"/>
                <a:gd name="connsiteY239" fmla="*/ 55269 h 606722"/>
                <a:gd name="connsiteX240" fmla="*/ 303779 w 607639"/>
                <a:gd name="connsiteY240" fmla="*/ 101120 h 606722"/>
                <a:gd name="connsiteX241" fmla="*/ 253400 w 607639"/>
                <a:gd name="connsiteY241" fmla="*/ 55269 h 606722"/>
                <a:gd name="connsiteX242" fmla="*/ 245034 w 607639"/>
                <a:gd name="connsiteY242" fmla="*/ 58646 h 606722"/>
                <a:gd name="connsiteX243" fmla="*/ 241028 w 607639"/>
                <a:gd name="connsiteY243" fmla="*/ 59623 h 606722"/>
                <a:gd name="connsiteX244" fmla="*/ 231949 w 607639"/>
                <a:gd name="connsiteY244" fmla="*/ 53581 h 606722"/>
                <a:gd name="connsiteX245" fmla="*/ 236934 w 607639"/>
                <a:gd name="connsiteY245" fmla="*/ 40430 h 606722"/>
                <a:gd name="connsiteX246" fmla="*/ 256427 w 607639"/>
                <a:gd name="connsiteY246" fmla="*/ 32522 h 606722"/>
                <a:gd name="connsiteX247" fmla="*/ 303779 w 607639"/>
                <a:gd name="connsiteY247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</a:cxnLst>
              <a:rect l="l" t="t" r="r" b="b"/>
              <a:pathLst>
                <a:path w="607639" h="606722">
                  <a:moveTo>
                    <a:pt x="303775" y="525773"/>
                  </a:moveTo>
                  <a:cubicBezTo>
                    <a:pt x="286596" y="525773"/>
                    <a:pt x="273422" y="538924"/>
                    <a:pt x="273422" y="556162"/>
                  </a:cubicBezTo>
                  <a:cubicBezTo>
                    <a:pt x="273422" y="573312"/>
                    <a:pt x="286596" y="586462"/>
                    <a:pt x="303775" y="586462"/>
                  </a:cubicBezTo>
                  <a:cubicBezTo>
                    <a:pt x="321043" y="586462"/>
                    <a:pt x="334217" y="573312"/>
                    <a:pt x="334217" y="556162"/>
                  </a:cubicBezTo>
                  <a:cubicBezTo>
                    <a:pt x="334217" y="538924"/>
                    <a:pt x="321043" y="525773"/>
                    <a:pt x="303775" y="525773"/>
                  </a:cubicBezTo>
                  <a:close/>
                  <a:moveTo>
                    <a:pt x="303775" y="505602"/>
                  </a:moveTo>
                  <a:cubicBezTo>
                    <a:pt x="326918" y="505602"/>
                    <a:pt x="346056" y="520441"/>
                    <a:pt x="352287" y="541323"/>
                  </a:cubicBezTo>
                  <a:lnTo>
                    <a:pt x="365550" y="534925"/>
                  </a:lnTo>
                  <a:cubicBezTo>
                    <a:pt x="370624" y="532881"/>
                    <a:pt x="376765" y="534925"/>
                    <a:pt x="378724" y="539990"/>
                  </a:cubicBezTo>
                  <a:cubicBezTo>
                    <a:pt x="380771" y="545055"/>
                    <a:pt x="378724" y="551097"/>
                    <a:pt x="373650" y="553141"/>
                  </a:cubicBezTo>
                  <a:lnTo>
                    <a:pt x="354067" y="562560"/>
                  </a:lnTo>
                  <a:cubicBezTo>
                    <a:pt x="350952" y="587706"/>
                    <a:pt x="330034" y="606722"/>
                    <a:pt x="303775" y="606722"/>
                  </a:cubicBezTo>
                  <a:cubicBezTo>
                    <a:pt x="277605" y="606722"/>
                    <a:pt x="256598" y="587706"/>
                    <a:pt x="253572" y="562560"/>
                  </a:cubicBezTo>
                  <a:lnTo>
                    <a:pt x="233900" y="553141"/>
                  </a:lnTo>
                  <a:cubicBezTo>
                    <a:pt x="228826" y="551097"/>
                    <a:pt x="226868" y="545055"/>
                    <a:pt x="228826" y="539990"/>
                  </a:cubicBezTo>
                  <a:cubicBezTo>
                    <a:pt x="230874" y="534925"/>
                    <a:pt x="236926" y="532881"/>
                    <a:pt x="242000" y="534925"/>
                  </a:cubicBezTo>
                  <a:lnTo>
                    <a:pt x="255352" y="541323"/>
                  </a:lnTo>
                  <a:cubicBezTo>
                    <a:pt x="261583" y="520441"/>
                    <a:pt x="280632" y="505602"/>
                    <a:pt x="303775" y="505602"/>
                  </a:cubicBezTo>
                  <a:close/>
                  <a:moveTo>
                    <a:pt x="429338" y="504614"/>
                  </a:moveTo>
                  <a:cubicBezTo>
                    <a:pt x="434413" y="502567"/>
                    <a:pt x="440467" y="504614"/>
                    <a:pt x="442514" y="509597"/>
                  </a:cubicBezTo>
                  <a:cubicBezTo>
                    <a:pt x="444562" y="514669"/>
                    <a:pt x="442514" y="520808"/>
                    <a:pt x="437440" y="522766"/>
                  </a:cubicBezTo>
                  <a:lnTo>
                    <a:pt x="411087" y="535935"/>
                  </a:lnTo>
                  <a:cubicBezTo>
                    <a:pt x="409129" y="537003"/>
                    <a:pt x="408060" y="537003"/>
                    <a:pt x="406013" y="537003"/>
                  </a:cubicBezTo>
                  <a:cubicBezTo>
                    <a:pt x="402006" y="537003"/>
                    <a:pt x="398979" y="534956"/>
                    <a:pt x="396932" y="530863"/>
                  </a:cubicBezTo>
                  <a:cubicBezTo>
                    <a:pt x="394884" y="525791"/>
                    <a:pt x="396932" y="519741"/>
                    <a:pt x="402006" y="517694"/>
                  </a:cubicBezTo>
                  <a:close/>
                  <a:moveTo>
                    <a:pt x="178196" y="504614"/>
                  </a:moveTo>
                  <a:lnTo>
                    <a:pt x="205588" y="517694"/>
                  </a:lnTo>
                  <a:cubicBezTo>
                    <a:pt x="210657" y="519741"/>
                    <a:pt x="212614" y="525791"/>
                    <a:pt x="210657" y="530863"/>
                  </a:cubicBezTo>
                  <a:cubicBezTo>
                    <a:pt x="208612" y="534956"/>
                    <a:pt x="204521" y="537003"/>
                    <a:pt x="201497" y="537003"/>
                  </a:cubicBezTo>
                  <a:cubicBezTo>
                    <a:pt x="200519" y="537003"/>
                    <a:pt x="198473" y="537003"/>
                    <a:pt x="197495" y="535935"/>
                  </a:cubicBezTo>
                  <a:lnTo>
                    <a:pt x="170103" y="522766"/>
                  </a:lnTo>
                  <a:cubicBezTo>
                    <a:pt x="165123" y="520808"/>
                    <a:pt x="163077" y="514669"/>
                    <a:pt x="165123" y="509597"/>
                  </a:cubicBezTo>
                  <a:cubicBezTo>
                    <a:pt x="167079" y="504614"/>
                    <a:pt x="173216" y="502567"/>
                    <a:pt x="178196" y="504614"/>
                  </a:cubicBezTo>
                  <a:close/>
                  <a:moveTo>
                    <a:pt x="50634" y="424743"/>
                  </a:moveTo>
                  <a:cubicBezTo>
                    <a:pt x="33370" y="424743"/>
                    <a:pt x="20289" y="437894"/>
                    <a:pt x="20289" y="455043"/>
                  </a:cubicBezTo>
                  <a:cubicBezTo>
                    <a:pt x="20289" y="472192"/>
                    <a:pt x="33370" y="485343"/>
                    <a:pt x="50634" y="485343"/>
                  </a:cubicBezTo>
                  <a:cubicBezTo>
                    <a:pt x="67809" y="485343"/>
                    <a:pt x="80979" y="472192"/>
                    <a:pt x="80979" y="455043"/>
                  </a:cubicBezTo>
                  <a:cubicBezTo>
                    <a:pt x="80979" y="437894"/>
                    <a:pt x="67809" y="424743"/>
                    <a:pt x="50634" y="424743"/>
                  </a:cubicBezTo>
                  <a:close/>
                  <a:moveTo>
                    <a:pt x="556979" y="424714"/>
                  </a:moveTo>
                  <a:cubicBezTo>
                    <a:pt x="539707" y="424714"/>
                    <a:pt x="526530" y="437870"/>
                    <a:pt x="526530" y="455025"/>
                  </a:cubicBezTo>
                  <a:cubicBezTo>
                    <a:pt x="526530" y="472180"/>
                    <a:pt x="539707" y="485335"/>
                    <a:pt x="556979" y="485335"/>
                  </a:cubicBezTo>
                  <a:cubicBezTo>
                    <a:pt x="574163" y="485335"/>
                    <a:pt x="587340" y="472180"/>
                    <a:pt x="587340" y="455025"/>
                  </a:cubicBezTo>
                  <a:cubicBezTo>
                    <a:pt x="587340" y="437870"/>
                    <a:pt x="574163" y="424714"/>
                    <a:pt x="556979" y="424714"/>
                  </a:cubicBezTo>
                  <a:close/>
                  <a:moveTo>
                    <a:pt x="556979" y="374138"/>
                  </a:moveTo>
                  <a:cubicBezTo>
                    <a:pt x="563034" y="374138"/>
                    <a:pt x="567129" y="378138"/>
                    <a:pt x="567129" y="384271"/>
                  </a:cubicBezTo>
                  <a:lnTo>
                    <a:pt x="567129" y="405426"/>
                  </a:lnTo>
                  <a:cubicBezTo>
                    <a:pt x="590456" y="410048"/>
                    <a:pt x="607639" y="430136"/>
                    <a:pt x="607639" y="455025"/>
                  </a:cubicBezTo>
                  <a:cubicBezTo>
                    <a:pt x="607639" y="483379"/>
                    <a:pt x="585292" y="505601"/>
                    <a:pt x="556979" y="505601"/>
                  </a:cubicBezTo>
                  <a:cubicBezTo>
                    <a:pt x="540419" y="505601"/>
                    <a:pt x="525996" y="498046"/>
                    <a:pt x="516737" y="486135"/>
                  </a:cubicBezTo>
                  <a:lnTo>
                    <a:pt x="484062" y="501512"/>
                  </a:lnTo>
                  <a:cubicBezTo>
                    <a:pt x="482993" y="502579"/>
                    <a:pt x="480945" y="502579"/>
                    <a:pt x="479966" y="502579"/>
                  </a:cubicBezTo>
                  <a:cubicBezTo>
                    <a:pt x="475960" y="502579"/>
                    <a:pt x="472843" y="500534"/>
                    <a:pt x="470885" y="496535"/>
                  </a:cubicBezTo>
                  <a:cubicBezTo>
                    <a:pt x="468837" y="491468"/>
                    <a:pt x="470885" y="485335"/>
                    <a:pt x="475960" y="483379"/>
                  </a:cubicBezTo>
                  <a:lnTo>
                    <a:pt x="508011" y="468180"/>
                  </a:lnTo>
                  <a:cubicBezTo>
                    <a:pt x="506943" y="464002"/>
                    <a:pt x="506320" y="459647"/>
                    <a:pt x="506320" y="455025"/>
                  </a:cubicBezTo>
                  <a:cubicBezTo>
                    <a:pt x="506320" y="450047"/>
                    <a:pt x="507032" y="445336"/>
                    <a:pt x="508278" y="440803"/>
                  </a:cubicBezTo>
                  <a:lnTo>
                    <a:pt x="495191" y="427737"/>
                  </a:lnTo>
                  <a:cubicBezTo>
                    <a:pt x="491095" y="423648"/>
                    <a:pt x="491095" y="417603"/>
                    <a:pt x="495191" y="413604"/>
                  </a:cubicBezTo>
                  <a:cubicBezTo>
                    <a:pt x="499197" y="409515"/>
                    <a:pt x="505340" y="409515"/>
                    <a:pt x="509347" y="413604"/>
                  </a:cubicBezTo>
                  <a:lnTo>
                    <a:pt x="518072" y="422314"/>
                  </a:lnTo>
                  <a:cubicBezTo>
                    <a:pt x="525284" y="413781"/>
                    <a:pt x="535344" y="407737"/>
                    <a:pt x="546830" y="405426"/>
                  </a:cubicBezTo>
                  <a:lnTo>
                    <a:pt x="546830" y="384271"/>
                  </a:lnTo>
                  <a:cubicBezTo>
                    <a:pt x="546830" y="378138"/>
                    <a:pt x="550925" y="374138"/>
                    <a:pt x="556979" y="374138"/>
                  </a:cubicBezTo>
                  <a:close/>
                  <a:moveTo>
                    <a:pt x="50634" y="343795"/>
                  </a:moveTo>
                  <a:cubicBezTo>
                    <a:pt x="56685" y="343795"/>
                    <a:pt x="60779" y="347882"/>
                    <a:pt x="60779" y="353925"/>
                  </a:cubicBezTo>
                  <a:lnTo>
                    <a:pt x="60779" y="405461"/>
                  </a:lnTo>
                  <a:cubicBezTo>
                    <a:pt x="67898" y="406883"/>
                    <a:pt x="74483" y="409726"/>
                    <a:pt x="80178" y="413725"/>
                  </a:cubicBezTo>
                  <a:lnTo>
                    <a:pt x="101268" y="399419"/>
                  </a:lnTo>
                  <a:cubicBezTo>
                    <a:pt x="106340" y="396398"/>
                    <a:pt x="112392" y="397375"/>
                    <a:pt x="115417" y="402440"/>
                  </a:cubicBezTo>
                  <a:cubicBezTo>
                    <a:pt x="118443" y="407505"/>
                    <a:pt x="117464" y="413636"/>
                    <a:pt x="112392" y="416657"/>
                  </a:cubicBezTo>
                  <a:lnTo>
                    <a:pt x="94149" y="429008"/>
                  </a:lnTo>
                  <a:cubicBezTo>
                    <a:pt x="98687" y="436561"/>
                    <a:pt x="101268" y="445446"/>
                    <a:pt x="101268" y="455043"/>
                  </a:cubicBezTo>
                  <a:cubicBezTo>
                    <a:pt x="101268" y="459663"/>
                    <a:pt x="100645" y="464017"/>
                    <a:pt x="99577" y="468194"/>
                  </a:cubicBezTo>
                  <a:lnTo>
                    <a:pt x="131613" y="483388"/>
                  </a:lnTo>
                  <a:cubicBezTo>
                    <a:pt x="136685" y="485343"/>
                    <a:pt x="138732" y="491474"/>
                    <a:pt x="136685" y="496450"/>
                  </a:cubicBezTo>
                  <a:cubicBezTo>
                    <a:pt x="135706" y="500537"/>
                    <a:pt x="131613" y="502581"/>
                    <a:pt x="127609" y="502581"/>
                  </a:cubicBezTo>
                  <a:cubicBezTo>
                    <a:pt x="126541" y="502581"/>
                    <a:pt x="124494" y="502581"/>
                    <a:pt x="123515" y="501515"/>
                  </a:cubicBezTo>
                  <a:lnTo>
                    <a:pt x="90768" y="486143"/>
                  </a:lnTo>
                  <a:cubicBezTo>
                    <a:pt x="81602" y="498049"/>
                    <a:pt x="67186" y="505602"/>
                    <a:pt x="50634" y="505602"/>
                  </a:cubicBezTo>
                  <a:cubicBezTo>
                    <a:pt x="22247" y="505602"/>
                    <a:pt x="0" y="483388"/>
                    <a:pt x="0" y="455043"/>
                  </a:cubicBezTo>
                  <a:cubicBezTo>
                    <a:pt x="0" y="430163"/>
                    <a:pt x="17175" y="410082"/>
                    <a:pt x="40489" y="405461"/>
                  </a:cubicBezTo>
                  <a:lnTo>
                    <a:pt x="40489" y="353925"/>
                  </a:lnTo>
                  <a:cubicBezTo>
                    <a:pt x="40489" y="347882"/>
                    <a:pt x="44583" y="343795"/>
                    <a:pt x="50634" y="343795"/>
                  </a:cubicBezTo>
                  <a:close/>
                  <a:moveTo>
                    <a:pt x="556974" y="313452"/>
                  </a:moveTo>
                  <a:cubicBezTo>
                    <a:pt x="563035" y="313452"/>
                    <a:pt x="567135" y="317542"/>
                    <a:pt x="567135" y="323589"/>
                  </a:cubicBezTo>
                  <a:lnTo>
                    <a:pt x="567135" y="353910"/>
                  </a:lnTo>
                  <a:cubicBezTo>
                    <a:pt x="567135" y="359957"/>
                    <a:pt x="563035" y="364047"/>
                    <a:pt x="556974" y="364047"/>
                  </a:cubicBezTo>
                  <a:cubicBezTo>
                    <a:pt x="550912" y="364047"/>
                    <a:pt x="546812" y="359957"/>
                    <a:pt x="546812" y="353910"/>
                  </a:cubicBezTo>
                  <a:lnTo>
                    <a:pt x="546812" y="323589"/>
                  </a:lnTo>
                  <a:cubicBezTo>
                    <a:pt x="546812" y="317542"/>
                    <a:pt x="550912" y="313452"/>
                    <a:pt x="556974" y="313452"/>
                  </a:cubicBezTo>
                  <a:close/>
                  <a:moveTo>
                    <a:pt x="50631" y="273018"/>
                  </a:moveTo>
                  <a:cubicBezTo>
                    <a:pt x="56671" y="273018"/>
                    <a:pt x="60757" y="277108"/>
                    <a:pt x="60757" y="283155"/>
                  </a:cubicBezTo>
                  <a:lnTo>
                    <a:pt x="60757" y="313476"/>
                  </a:lnTo>
                  <a:cubicBezTo>
                    <a:pt x="60757" y="319523"/>
                    <a:pt x="56671" y="323613"/>
                    <a:pt x="50631" y="323613"/>
                  </a:cubicBezTo>
                  <a:cubicBezTo>
                    <a:pt x="44591" y="323613"/>
                    <a:pt x="40505" y="319523"/>
                    <a:pt x="40505" y="313476"/>
                  </a:cubicBezTo>
                  <a:lnTo>
                    <a:pt x="40505" y="283155"/>
                  </a:lnTo>
                  <a:cubicBezTo>
                    <a:pt x="40505" y="277108"/>
                    <a:pt x="44591" y="273018"/>
                    <a:pt x="50631" y="273018"/>
                  </a:cubicBezTo>
                  <a:close/>
                  <a:moveTo>
                    <a:pt x="556974" y="242745"/>
                  </a:moveTo>
                  <a:cubicBezTo>
                    <a:pt x="563035" y="242745"/>
                    <a:pt x="567135" y="246741"/>
                    <a:pt x="567135" y="252779"/>
                  </a:cubicBezTo>
                  <a:lnTo>
                    <a:pt x="567135" y="283147"/>
                  </a:lnTo>
                  <a:cubicBezTo>
                    <a:pt x="567135" y="289185"/>
                    <a:pt x="563035" y="293270"/>
                    <a:pt x="556974" y="293270"/>
                  </a:cubicBezTo>
                  <a:cubicBezTo>
                    <a:pt x="550912" y="293270"/>
                    <a:pt x="546812" y="289185"/>
                    <a:pt x="546812" y="283147"/>
                  </a:cubicBezTo>
                  <a:lnTo>
                    <a:pt x="546812" y="252779"/>
                  </a:lnTo>
                  <a:cubicBezTo>
                    <a:pt x="546812" y="246741"/>
                    <a:pt x="550912" y="242745"/>
                    <a:pt x="556974" y="242745"/>
                  </a:cubicBezTo>
                  <a:close/>
                  <a:moveTo>
                    <a:pt x="329136" y="170920"/>
                  </a:moveTo>
                  <a:cubicBezTo>
                    <a:pt x="300921" y="170920"/>
                    <a:pt x="271904" y="184871"/>
                    <a:pt x="254103" y="207797"/>
                  </a:cubicBezTo>
                  <a:cubicBezTo>
                    <a:pt x="266119" y="218815"/>
                    <a:pt x="273417" y="234632"/>
                    <a:pt x="273417" y="252759"/>
                  </a:cubicBezTo>
                  <a:cubicBezTo>
                    <a:pt x="273417" y="258891"/>
                    <a:pt x="269323" y="262889"/>
                    <a:pt x="263270" y="262889"/>
                  </a:cubicBezTo>
                  <a:cubicBezTo>
                    <a:pt x="257218" y="262889"/>
                    <a:pt x="253124" y="258891"/>
                    <a:pt x="253124" y="252759"/>
                  </a:cubicBezTo>
                  <a:cubicBezTo>
                    <a:pt x="253124" y="230545"/>
                    <a:pt x="234966" y="212329"/>
                    <a:pt x="212625" y="212329"/>
                  </a:cubicBezTo>
                  <a:cubicBezTo>
                    <a:pt x="189394" y="212329"/>
                    <a:pt x="173194" y="228501"/>
                    <a:pt x="173194" y="250805"/>
                  </a:cubicBezTo>
                  <a:lnTo>
                    <a:pt x="173194" y="253826"/>
                  </a:lnTo>
                  <a:lnTo>
                    <a:pt x="173194" y="254803"/>
                  </a:lnTo>
                  <a:lnTo>
                    <a:pt x="173194" y="257824"/>
                  </a:lnTo>
                  <a:lnTo>
                    <a:pt x="173194" y="263956"/>
                  </a:lnTo>
                  <a:lnTo>
                    <a:pt x="167053" y="266977"/>
                  </a:lnTo>
                  <a:cubicBezTo>
                    <a:pt x="144801" y="277107"/>
                    <a:pt x="131628" y="300299"/>
                    <a:pt x="131628" y="326601"/>
                  </a:cubicBezTo>
                  <a:cubicBezTo>
                    <a:pt x="131628" y="364011"/>
                    <a:pt x="160021" y="394312"/>
                    <a:pt x="194467" y="394312"/>
                  </a:cubicBezTo>
                  <a:lnTo>
                    <a:pt x="419212" y="394312"/>
                  </a:lnTo>
                  <a:cubicBezTo>
                    <a:pt x="433721" y="394312"/>
                    <a:pt x="446627" y="389247"/>
                    <a:pt x="456418" y="380628"/>
                  </a:cubicBezTo>
                  <a:cubicBezTo>
                    <a:pt x="456952" y="379384"/>
                    <a:pt x="457664" y="378229"/>
                    <a:pt x="458732" y="377162"/>
                  </a:cubicBezTo>
                  <a:cubicBezTo>
                    <a:pt x="459711" y="376185"/>
                    <a:pt x="460779" y="375474"/>
                    <a:pt x="461936" y="374941"/>
                  </a:cubicBezTo>
                  <a:cubicBezTo>
                    <a:pt x="470748" y="364544"/>
                    <a:pt x="475999" y="350593"/>
                    <a:pt x="475999" y="334688"/>
                  </a:cubicBezTo>
                  <a:cubicBezTo>
                    <a:pt x="475999" y="304387"/>
                    <a:pt x="456685" y="278084"/>
                    <a:pt x="429359" y="273019"/>
                  </a:cubicBezTo>
                  <a:lnTo>
                    <a:pt x="421259" y="270976"/>
                  </a:lnTo>
                  <a:lnTo>
                    <a:pt x="421259" y="262889"/>
                  </a:lnTo>
                  <a:cubicBezTo>
                    <a:pt x="420280" y="212329"/>
                    <a:pt x="379782" y="170920"/>
                    <a:pt x="329136" y="170920"/>
                  </a:cubicBezTo>
                  <a:close/>
                  <a:moveTo>
                    <a:pt x="329136" y="152704"/>
                  </a:moveTo>
                  <a:cubicBezTo>
                    <a:pt x="367588" y="152704"/>
                    <a:pt x="401322" y="172697"/>
                    <a:pt x="421348" y="202643"/>
                  </a:cubicBezTo>
                  <a:lnTo>
                    <a:pt x="449653" y="187093"/>
                  </a:lnTo>
                  <a:cubicBezTo>
                    <a:pt x="454726" y="184071"/>
                    <a:pt x="460779" y="186026"/>
                    <a:pt x="463805" y="191091"/>
                  </a:cubicBezTo>
                  <a:cubicBezTo>
                    <a:pt x="466831" y="196156"/>
                    <a:pt x="464784" y="202287"/>
                    <a:pt x="459800" y="205309"/>
                  </a:cubicBezTo>
                  <a:lnTo>
                    <a:pt x="431406" y="220948"/>
                  </a:lnTo>
                  <a:cubicBezTo>
                    <a:pt x="436213" y="232144"/>
                    <a:pt x="439417" y="244229"/>
                    <a:pt x="440485" y="256847"/>
                  </a:cubicBezTo>
                  <a:cubicBezTo>
                    <a:pt x="472884" y="266977"/>
                    <a:pt x="495225" y="298255"/>
                    <a:pt x="495225" y="335665"/>
                  </a:cubicBezTo>
                  <a:cubicBezTo>
                    <a:pt x="495581" y="354325"/>
                    <a:pt x="489974" y="371120"/>
                    <a:pt x="480183" y="384360"/>
                  </a:cubicBezTo>
                  <a:lnTo>
                    <a:pt x="488104" y="392357"/>
                  </a:lnTo>
                  <a:cubicBezTo>
                    <a:pt x="492199" y="396356"/>
                    <a:pt x="492199" y="402398"/>
                    <a:pt x="488104" y="406486"/>
                  </a:cubicBezTo>
                  <a:cubicBezTo>
                    <a:pt x="486057" y="408530"/>
                    <a:pt x="483031" y="409507"/>
                    <a:pt x="480984" y="409507"/>
                  </a:cubicBezTo>
                  <a:cubicBezTo>
                    <a:pt x="477957" y="409507"/>
                    <a:pt x="475999" y="408530"/>
                    <a:pt x="473952" y="406486"/>
                  </a:cubicBezTo>
                  <a:lnTo>
                    <a:pt x="466208" y="398755"/>
                  </a:lnTo>
                  <a:cubicBezTo>
                    <a:pt x="453391" y="408707"/>
                    <a:pt x="437192" y="414572"/>
                    <a:pt x="419212" y="414572"/>
                  </a:cubicBezTo>
                  <a:lnTo>
                    <a:pt x="194467" y="414572"/>
                  </a:lnTo>
                  <a:cubicBezTo>
                    <a:pt x="174886" y="414572"/>
                    <a:pt x="156906" y="407286"/>
                    <a:pt x="142665" y="395201"/>
                  </a:cubicBezTo>
                  <a:cubicBezTo>
                    <a:pt x="141686" y="395378"/>
                    <a:pt x="140707" y="395378"/>
                    <a:pt x="139728" y="395378"/>
                  </a:cubicBezTo>
                  <a:cubicBezTo>
                    <a:pt x="136701" y="395378"/>
                    <a:pt x="133675" y="393335"/>
                    <a:pt x="131628" y="391291"/>
                  </a:cubicBezTo>
                  <a:cubicBezTo>
                    <a:pt x="129937" y="388447"/>
                    <a:pt x="129492" y="385248"/>
                    <a:pt x="130382" y="382494"/>
                  </a:cubicBezTo>
                  <a:cubicBezTo>
                    <a:pt x="118544" y="367299"/>
                    <a:pt x="111423" y="347839"/>
                    <a:pt x="111423" y="326601"/>
                  </a:cubicBezTo>
                  <a:cubicBezTo>
                    <a:pt x="111423" y="295234"/>
                    <a:pt x="127622" y="266977"/>
                    <a:pt x="152901" y="251782"/>
                  </a:cubicBezTo>
                  <a:cubicBezTo>
                    <a:pt x="152901" y="251604"/>
                    <a:pt x="152901" y="251338"/>
                    <a:pt x="152901" y="251160"/>
                  </a:cubicBezTo>
                  <a:cubicBezTo>
                    <a:pt x="152901" y="250982"/>
                    <a:pt x="152901" y="250893"/>
                    <a:pt x="152901" y="250805"/>
                  </a:cubicBezTo>
                  <a:cubicBezTo>
                    <a:pt x="152901" y="238364"/>
                    <a:pt x="156461" y="226990"/>
                    <a:pt x="162603" y="217660"/>
                  </a:cubicBezTo>
                  <a:lnTo>
                    <a:pt x="145780" y="207264"/>
                  </a:lnTo>
                  <a:cubicBezTo>
                    <a:pt x="140707" y="204242"/>
                    <a:pt x="139728" y="198200"/>
                    <a:pt x="142754" y="193135"/>
                  </a:cubicBezTo>
                  <a:cubicBezTo>
                    <a:pt x="145780" y="188070"/>
                    <a:pt x="151922" y="187093"/>
                    <a:pt x="156995" y="190114"/>
                  </a:cubicBezTo>
                  <a:lnTo>
                    <a:pt x="177378" y="202732"/>
                  </a:lnTo>
                  <a:cubicBezTo>
                    <a:pt x="187080" y="196067"/>
                    <a:pt x="199185" y="192157"/>
                    <a:pt x="212625" y="192157"/>
                  </a:cubicBezTo>
                  <a:cubicBezTo>
                    <a:pt x="219657" y="192157"/>
                    <a:pt x="226332" y="193224"/>
                    <a:pt x="232474" y="195268"/>
                  </a:cubicBezTo>
                  <a:cubicBezTo>
                    <a:pt x="234699" y="195801"/>
                    <a:pt x="236924" y="196423"/>
                    <a:pt x="238971" y="197222"/>
                  </a:cubicBezTo>
                  <a:cubicBezTo>
                    <a:pt x="260244" y="169854"/>
                    <a:pt x="294690" y="152704"/>
                    <a:pt x="329136" y="152704"/>
                  </a:cubicBezTo>
                  <a:close/>
                  <a:moveTo>
                    <a:pt x="556980" y="111274"/>
                  </a:moveTo>
                  <a:cubicBezTo>
                    <a:pt x="539707" y="111274"/>
                    <a:pt x="526531" y="124338"/>
                    <a:pt x="526531" y="141579"/>
                  </a:cubicBezTo>
                  <a:cubicBezTo>
                    <a:pt x="526531" y="158731"/>
                    <a:pt x="539707" y="171884"/>
                    <a:pt x="556980" y="171884"/>
                  </a:cubicBezTo>
                  <a:cubicBezTo>
                    <a:pt x="574163" y="171884"/>
                    <a:pt x="587340" y="158731"/>
                    <a:pt x="587340" y="141579"/>
                  </a:cubicBezTo>
                  <a:cubicBezTo>
                    <a:pt x="587340" y="124338"/>
                    <a:pt x="574163" y="111274"/>
                    <a:pt x="556980" y="111274"/>
                  </a:cubicBezTo>
                  <a:close/>
                  <a:moveTo>
                    <a:pt x="50637" y="111268"/>
                  </a:moveTo>
                  <a:cubicBezTo>
                    <a:pt x="33373" y="111268"/>
                    <a:pt x="20291" y="124333"/>
                    <a:pt x="20291" y="141575"/>
                  </a:cubicBezTo>
                  <a:cubicBezTo>
                    <a:pt x="20291" y="158728"/>
                    <a:pt x="33373" y="171882"/>
                    <a:pt x="50637" y="171882"/>
                  </a:cubicBezTo>
                  <a:cubicBezTo>
                    <a:pt x="67813" y="171882"/>
                    <a:pt x="80984" y="158728"/>
                    <a:pt x="80984" y="141575"/>
                  </a:cubicBezTo>
                  <a:cubicBezTo>
                    <a:pt x="80984" y="124333"/>
                    <a:pt x="67813" y="111268"/>
                    <a:pt x="50637" y="111268"/>
                  </a:cubicBezTo>
                  <a:close/>
                  <a:moveTo>
                    <a:pt x="124502" y="86916"/>
                  </a:moveTo>
                  <a:cubicBezTo>
                    <a:pt x="129575" y="84961"/>
                    <a:pt x="135715" y="86916"/>
                    <a:pt x="137673" y="91982"/>
                  </a:cubicBezTo>
                  <a:cubicBezTo>
                    <a:pt x="139720" y="97048"/>
                    <a:pt x="137673" y="103181"/>
                    <a:pt x="132601" y="105136"/>
                  </a:cubicBezTo>
                  <a:lnTo>
                    <a:pt x="96469" y="119800"/>
                  </a:lnTo>
                  <a:cubicBezTo>
                    <a:pt x="99584" y="126377"/>
                    <a:pt x="101275" y="133754"/>
                    <a:pt x="101275" y="141575"/>
                  </a:cubicBezTo>
                  <a:cubicBezTo>
                    <a:pt x="101275" y="145930"/>
                    <a:pt x="100741" y="150196"/>
                    <a:pt x="99673" y="154284"/>
                  </a:cubicBezTo>
                  <a:lnTo>
                    <a:pt x="122544" y="168860"/>
                  </a:lnTo>
                  <a:cubicBezTo>
                    <a:pt x="127617" y="171882"/>
                    <a:pt x="128596" y="177925"/>
                    <a:pt x="125570" y="182991"/>
                  </a:cubicBezTo>
                  <a:cubicBezTo>
                    <a:pt x="123523" y="186102"/>
                    <a:pt x="120497" y="188057"/>
                    <a:pt x="116404" y="188057"/>
                  </a:cubicBezTo>
                  <a:cubicBezTo>
                    <a:pt x="114446" y="188057"/>
                    <a:pt x="112399" y="188057"/>
                    <a:pt x="111420" y="186102"/>
                  </a:cubicBezTo>
                  <a:lnTo>
                    <a:pt x="90685" y="172859"/>
                  </a:lnTo>
                  <a:cubicBezTo>
                    <a:pt x="83387" y="182102"/>
                    <a:pt x="72886" y="188768"/>
                    <a:pt x="60783" y="191168"/>
                  </a:cubicBezTo>
                  <a:lnTo>
                    <a:pt x="60783" y="222452"/>
                  </a:lnTo>
                  <a:cubicBezTo>
                    <a:pt x="60783" y="228496"/>
                    <a:pt x="56689" y="232584"/>
                    <a:pt x="50637" y="232584"/>
                  </a:cubicBezTo>
                  <a:cubicBezTo>
                    <a:pt x="44586" y="232584"/>
                    <a:pt x="40492" y="228496"/>
                    <a:pt x="40492" y="222452"/>
                  </a:cubicBezTo>
                  <a:lnTo>
                    <a:pt x="40492" y="191168"/>
                  </a:lnTo>
                  <a:cubicBezTo>
                    <a:pt x="17176" y="186546"/>
                    <a:pt x="0" y="166371"/>
                    <a:pt x="0" y="141575"/>
                  </a:cubicBezTo>
                  <a:cubicBezTo>
                    <a:pt x="0" y="113224"/>
                    <a:pt x="22248" y="91005"/>
                    <a:pt x="50637" y="91005"/>
                  </a:cubicBezTo>
                  <a:cubicBezTo>
                    <a:pt x="63719" y="91005"/>
                    <a:pt x="75556" y="95804"/>
                    <a:pt x="84455" y="103714"/>
                  </a:cubicBezTo>
                  <a:cubicBezTo>
                    <a:pt x="85256" y="103092"/>
                    <a:pt x="86146" y="102558"/>
                    <a:pt x="87125" y="102114"/>
                  </a:cubicBezTo>
                  <a:close/>
                  <a:moveTo>
                    <a:pt x="475270" y="86424"/>
                  </a:moveTo>
                  <a:cubicBezTo>
                    <a:pt x="477674" y="85413"/>
                    <a:pt x="480457" y="85413"/>
                    <a:pt x="482994" y="86924"/>
                  </a:cubicBezTo>
                  <a:lnTo>
                    <a:pt x="520476" y="102121"/>
                  </a:lnTo>
                  <a:cubicBezTo>
                    <a:pt x="521456" y="102476"/>
                    <a:pt x="522346" y="103009"/>
                    <a:pt x="523147" y="103720"/>
                  </a:cubicBezTo>
                  <a:cubicBezTo>
                    <a:pt x="532051" y="95811"/>
                    <a:pt x="543803" y="91012"/>
                    <a:pt x="556980" y="91012"/>
                  </a:cubicBezTo>
                  <a:cubicBezTo>
                    <a:pt x="585292" y="91012"/>
                    <a:pt x="607639" y="113229"/>
                    <a:pt x="607639" y="141579"/>
                  </a:cubicBezTo>
                  <a:cubicBezTo>
                    <a:pt x="607639" y="166374"/>
                    <a:pt x="590456" y="186548"/>
                    <a:pt x="567129" y="191169"/>
                  </a:cubicBezTo>
                  <a:lnTo>
                    <a:pt x="567129" y="222452"/>
                  </a:lnTo>
                  <a:cubicBezTo>
                    <a:pt x="567129" y="228495"/>
                    <a:pt x="563034" y="232583"/>
                    <a:pt x="556980" y="232583"/>
                  </a:cubicBezTo>
                  <a:cubicBezTo>
                    <a:pt x="550925" y="232583"/>
                    <a:pt x="546830" y="228495"/>
                    <a:pt x="546830" y="222452"/>
                  </a:cubicBezTo>
                  <a:lnTo>
                    <a:pt x="546830" y="191169"/>
                  </a:lnTo>
                  <a:cubicBezTo>
                    <a:pt x="534900" y="188770"/>
                    <a:pt x="524572" y="182371"/>
                    <a:pt x="517271" y="173306"/>
                  </a:cubicBezTo>
                  <a:lnTo>
                    <a:pt x="495191" y="186104"/>
                  </a:lnTo>
                  <a:cubicBezTo>
                    <a:pt x="493144" y="186104"/>
                    <a:pt x="491096" y="187081"/>
                    <a:pt x="490116" y="187081"/>
                  </a:cubicBezTo>
                  <a:cubicBezTo>
                    <a:pt x="486021" y="187081"/>
                    <a:pt x="482994" y="185037"/>
                    <a:pt x="480946" y="182015"/>
                  </a:cubicBezTo>
                  <a:cubicBezTo>
                    <a:pt x="477919" y="176950"/>
                    <a:pt x="479967" y="170907"/>
                    <a:pt x="485042" y="167885"/>
                  </a:cubicBezTo>
                  <a:lnTo>
                    <a:pt x="508012" y="154643"/>
                  </a:lnTo>
                  <a:cubicBezTo>
                    <a:pt x="506855" y="150466"/>
                    <a:pt x="506320" y="146112"/>
                    <a:pt x="506320" y="141579"/>
                  </a:cubicBezTo>
                  <a:cubicBezTo>
                    <a:pt x="506320" y="133759"/>
                    <a:pt x="508012" y="126382"/>
                    <a:pt x="511128" y="119806"/>
                  </a:cubicBezTo>
                  <a:lnTo>
                    <a:pt x="474892" y="105142"/>
                  </a:lnTo>
                  <a:cubicBezTo>
                    <a:pt x="469817" y="103187"/>
                    <a:pt x="466790" y="97055"/>
                    <a:pt x="469817" y="91989"/>
                  </a:cubicBezTo>
                  <a:cubicBezTo>
                    <a:pt x="470841" y="89457"/>
                    <a:pt x="472867" y="87435"/>
                    <a:pt x="475270" y="86424"/>
                  </a:cubicBezTo>
                  <a:close/>
                  <a:moveTo>
                    <a:pt x="199455" y="56594"/>
                  </a:moveTo>
                  <a:cubicBezTo>
                    <a:pt x="204523" y="54547"/>
                    <a:pt x="210659" y="56594"/>
                    <a:pt x="212615" y="61666"/>
                  </a:cubicBezTo>
                  <a:cubicBezTo>
                    <a:pt x="214660" y="66738"/>
                    <a:pt x="212615" y="72789"/>
                    <a:pt x="207546" y="74835"/>
                  </a:cubicBezTo>
                  <a:lnTo>
                    <a:pt x="179270" y="85958"/>
                  </a:lnTo>
                  <a:cubicBezTo>
                    <a:pt x="178203" y="85958"/>
                    <a:pt x="176247" y="86937"/>
                    <a:pt x="175180" y="86937"/>
                  </a:cubicBezTo>
                  <a:cubicBezTo>
                    <a:pt x="171179" y="86937"/>
                    <a:pt x="167088" y="84979"/>
                    <a:pt x="166110" y="80886"/>
                  </a:cubicBezTo>
                  <a:cubicBezTo>
                    <a:pt x="164065" y="75814"/>
                    <a:pt x="166110" y="69763"/>
                    <a:pt x="171179" y="67717"/>
                  </a:cubicBezTo>
                  <a:close/>
                  <a:moveTo>
                    <a:pt x="400383" y="56084"/>
                  </a:moveTo>
                  <a:cubicBezTo>
                    <a:pt x="402784" y="55072"/>
                    <a:pt x="405563" y="55072"/>
                    <a:pt x="408098" y="56585"/>
                  </a:cubicBezTo>
                  <a:lnTo>
                    <a:pt x="436469" y="67711"/>
                  </a:lnTo>
                  <a:cubicBezTo>
                    <a:pt x="441538" y="69758"/>
                    <a:pt x="444562" y="75810"/>
                    <a:pt x="441538" y="80884"/>
                  </a:cubicBezTo>
                  <a:cubicBezTo>
                    <a:pt x="439493" y="83910"/>
                    <a:pt x="436469" y="86936"/>
                    <a:pt x="432378" y="86936"/>
                  </a:cubicBezTo>
                  <a:cubicBezTo>
                    <a:pt x="431399" y="86936"/>
                    <a:pt x="429354" y="86936"/>
                    <a:pt x="428376" y="85957"/>
                  </a:cubicBezTo>
                  <a:lnTo>
                    <a:pt x="400005" y="74831"/>
                  </a:lnTo>
                  <a:cubicBezTo>
                    <a:pt x="394936" y="71805"/>
                    <a:pt x="392979" y="66732"/>
                    <a:pt x="394936" y="61658"/>
                  </a:cubicBezTo>
                  <a:cubicBezTo>
                    <a:pt x="395958" y="59122"/>
                    <a:pt x="397982" y="57097"/>
                    <a:pt x="400383" y="56084"/>
                  </a:cubicBezTo>
                  <a:close/>
                  <a:moveTo>
                    <a:pt x="303779" y="20260"/>
                  </a:moveTo>
                  <a:cubicBezTo>
                    <a:pt x="286601" y="20260"/>
                    <a:pt x="273427" y="33322"/>
                    <a:pt x="273427" y="50560"/>
                  </a:cubicBezTo>
                  <a:cubicBezTo>
                    <a:pt x="273427" y="67710"/>
                    <a:pt x="286601" y="80860"/>
                    <a:pt x="303779" y="80860"/>
                  </a:cubicBezTo>
                  <a:cubicBezTo>
                    <a:pt x="321047" y="80860"/>
                    <a:pt x="334221" y="67710"/>
                    <a:pt x="334221" y="50560"/>
                  </a:cubicBezTo>
                  <a:cubicBezTo>
                    <a:pt x="334221" y="33322"/>
                    <a:pt x="321047" y="20260"/>
                    <a:pt x="303779" y="20260"/>
                  </a:cubicBezTo>
                  <a:close/>
                  <a:moveTo>
                    <a:pt x="303779" y="0"/>
                  </a:moveTo>
                  <a:cubicBezTo>
                    <a:pt x="325765" y="0"/>
                    <a:pt x="344101" y="13329"/>
                    <a:pt x="351221" y="32522"/>
                  </a:cubicBezTo>
                  <a:lnTo>
                    <a:pt x="370625" y="40430"/>
                  </a:lnTo>
                  <a:cubicBezTo>
                    <a:pt x="375699" y="42474"/>
                    <a:pt x="378725" y="48516"/>
                    <a:pt x="375699" y="53581"/>
                  </a:cubicBezTo>
                  <a:cubicBezTo>
                    <a:pt x="374720" y="57669"/>
                    <a:pt x="370625" y="59623"/>
                    <a:pt x="366620" y="59623"/>
                  </a:cubicBezTo>
                  <a:cubicBezTo>
                    <a:pt x="365552" y="59623"/>
                    <a:pt x="363593" y="59623"/>
                    <a:pt x="362525" y="58646"/>
                  </a:cubicBezTo>
                  <a:lnTo>
                    <a:pt x="354248" y="55269"/>
                  </a:lnTo>
                  <a:cubicBezTo>
                    <a:pt x="351933" y="81305"/>
                    <a:pt x="330571" y="101120"/>
                    <a:pt x="303779" y="101120"/>
                  </a:cubicBezTo>
                  <a:cubicBezTo>
                    <a:pt x="277077" y="101120"/>
                    <a:pt x="255715" y="81305"/>
                    <a:pt x="253400" y="55269"/>
                  </a:cubicBezTo>
                  <a:lnTo>
                    <a:pt x="245034" y="58646"/>
                  </a:lnTo>
                  <a:cubicBezTo>
                    <a:pt x="244054" y="59623"/>
                    <a:pt x="242007" y="59623"/>
                    <a:pt x="241028" y="59623"/>
                  </a:cubicBezTo>
                  <a:cubicBezTo>
                    <a:pt x="236934" y="59623"/>
                    <a:pt x="232928" y="57669"/>
                    <a:pt x="231949" y="53581"/>
                  </a:cubicBezTo>
                  <a:cubicBezTo>
                    <a:pt x="229902" y="48516"/>
                    <a:pt x="231949" y="42474"/>
                    <a:pt x="236934" y="40430"/>
                  </a:cubicBezTo>
                  <a:lnTo>
                    <a:pt x="256427" y="32522"/>
                  </a:lnTo>
                  <a:cubicBezTo>
                    <a:pt x="263547" y="13329"/>
                    <a:pt x="281883" y="0"/>
                    <a:pt x="30377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srgbClr val="1D1D1A"/>
                </a:solidFill>
                <a:latin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</p:grpSp>
      <p:grpSp>
        <p:nvGrpSpPr>
          <p:cNvPr id="45" name="组合 44">
            <a:extLst>
              <a:ext uri="{FF2B5EF4-FFF2-40B4-BE49-F238E27FC236}">
                <a16:creationId xmlns:a16="http://schemas.microsoft.com/office/drawing/2014/main" id="{95915CE5-A503-4473-8DA6-96BD571B45D5}"/>
              </a:ext>
            </a:extLst>
          </p:cNvPr>
          <p:cNvGrpSpPr/>
          <p:nvPr/>
        </p:nvGrpSpPr>
        <p:grpSpPr>
          <a:xfrm>
            <a:off x="4005341" y="2041995"/>
            <a:ext cx="1437110" cy="1437111"/>
            <a:chOff x="3588392" y="2041995"/>
            <a:chExt cx="1437110" cy="1437111"/>
          </a:xfrm>
        </p:grpSpPr>
        <p:sp>
          <p:nvSpPr>
            <p:cNvPr id="12" name="椭圆 11"/>
            <p:cNvSpPr>
              <a:spLocks noChangeAspect="1"/>
            </p:cNvSpPr>
            <p:nvPr/>
          </p:nvSpPr>
          <p:spPr>
            <a:xfrm>
              <a:off x="3588392" y="2041995"/>
              <a:ext cx="1437110" cy="1437111"/>
            </a:xfrm>
            <a:prstGeom prst="ellipse">
              <a:avLst/>
            </a:prstGeom>
            <a:gradFill flip="none" rotWithShape="1">
              <a:gsLst>
                <a:gs pos="38000">
                  <a:srgbClr val="666666">
                    <a:lumMod val="60000"/>
                    <a:lumOff val="40000"/>
                    <a:alpha val="2000"/>
                  </a:srgbClr>
                </a:gs>
                <a:gs pos="100000">
                  <a:srgbClr val="666666">
                    <a:lumMod val="60000"/>
                    <a:lumOff val="40000"/>
                    <a:alpha val="15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 algn="ctr">
              <a:gradFill flip="none" rotWithShape="1">
                <a:gsLst>
                  <a:gs pos="0">
                    <a:srgbClr val="666666">
                      <a:lumMod val="60000"/>
                      <a:lumOff val="40000"/>
                      <a:alpha val="80000"/>
                    </a:srgbClr>
                  </a:gs>
                  <a:gs pos="100000">
                    <a:srgbClr val="666666">
                      <a:lumMod val="60000"/>
                      <a:lumOff val="40000"/>
                      <a:alpha val="40000"/>
                    </a:srgbClr>
                  </a:gs>
                </a:gsLst>
                <a:lin ang="0" scaled="0"/>
                <a:tileRect/>
              </a:gra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square" lIns="0" tIns="0" rIns="0" bIns="0" anchor="ctr" anchorCtr="1"/>
            <a:lstStyle/>
            <a:p>
              <a:pPr algn="ctr" defTabSz="914355"/>
              <a:endParaRPr lang="zh-CN" altLang="en-US" sz="1200" b="1" kern="0" spc="50">
                <a:solidFill>
                  <a:sysClr val="windowText" lastClr="000000"/>
                </a:solidFill>
                <a:cs typeface="Arial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5" name="brain_245405"/>
            <p:cNvSpPr>
              <a:spLocks noChangeAspect="1"/>
            </p:cNvSpPr>
            <p:nvPr/>
          </p:nvSpPr>
          <p:spPr bwMode="auto">
            <a:xfrm>
              <a:off x="4036520" y="2551240"/>
              <a:ext cx="540855" cy="418622"/>
            </a:xfrm>
            <a:custGeom>
              <a:avLst/>
              <a:gdLst>
                <a:gd name="connsiteX0" fmla="*/ 373273 h 605239"/>
                <a:gd name="connsiteY0" fmla="*/ 373273 h 605239"/>
                <a:gd name="connsiteX1" fmla="*/ 373273 h 605239"/>
                <a:gd name="connsiteY1" fmla="*/ 373273 h 605239"/>
                <a:gd name="connsiteX2" fmla="*/ 373273 h 605239"/>
                <a:gd name="connsiteY2" fmla="*/ 373273 h 605239"/>
                <a:gd name="connsiteX3" fmla="*/ 373273 h 605239"/>
                <a:gd name="connsiteY3" fmla="*/ 373273 h 605239"/>
                <a:gd name="connsiteX4" fmla="*/ 373273 h 605239"/>
                <a:gd name="connsiteY4" fmla="*/ 373273 h 605239"/>
                <a:gd name="connsiteX5" fmla="*/ 373273 h 605239"/>
                <a:gd name="connsiteY5" fmla="*/ 373273 h 605239"/>
                <a:gd name="connsiteX6" fmla="*/ 373273 h 605239"/>
                <a:gd name="connsiteY6" fmla="*/ 373273 h 605239"/>
                <a:gd name="connsiteX7" fmla="*/ 373273 h 605239"/>
                <a:gd name="connsiteY7" fmla="*/ 373273 h 605239"/>
                <a:gd name="connsiteX8" fmla="*/ 373273 h 605239"/>
                <a:gd name="connsiteY8" fmla="*/ 373273 h 605239"/>
                <a:gd name="connsiteX9" fmla="*/ 373273 h 605239"/>
                <a:gd name="connsiteY9" fmla="*/ 373273 h 605239"/>
                <a:gd name="connsiteX10" fmla="*/ 373273 h 605239"/>
                <a:gd name="connsiteY10" fmla="*/ 373273 h 605239"/>
                <a:gd name="connsiteX11" fmla="*/ 373273 h 605239"/>
                <a:gd name="connsiteY11" fmla="*/ 373273 h 605239"/>
                <a:gd name="connsiteX12" fmla="*/ 373273 h 605239"/>
                <a:gd name="connsiteY12" fmla="*/ 373273 h 605239"/>
                <a:gd name="connsiteX13" fmla="*/ 373273 h 605239"/>
                <a:gd name="connsiteY13" fmla="*/ 373273 h 605239"/>
                <a:gd name="connsiteX14" fmla="*/ 373273 h 605239"/>
                <a:gd name="connsiteY14" fmla="*/ 373273 h 605239"/>
                <a:gd name="connsiteX15" fmla="*/ 373273 h 605239"/>
                <a:gd name="connsiteY15" fmla="*/ 373273 h 605239"/>
                <a:gd name="connsiteX16" fmla="*/ 373273 h 605239"/>
                <a:gd name="connsiteY16" fmla="*/ 373273 h 605239"/>
                <a:gd name="connsiteX17" fmla="*/ 373273 h 605239"/>
                <a:gd name="connsiteY17" fmla="*/ 373273 h 605239"/>
                <a:gd name="connsiteX18" fmla="*/ 373273 h 605239"/>
                <a:gd name="connsiteY18" fmla="*/ 373273 h 605239"/>
                <a:gd name="connsiteX19" fmla="*/ 373273 h 605239"/>
                <a:gd name="connsiteY19" fmla="*/ 373273 h 605239"/>
                <a:gd name="connsiteX20" fmla="*/ 373273 h 605239"/>
                <a:gd name="connsiteY20" fmla="*/ 373273 h 605239"/>
                <a:gd name="connsiteX21" fmla="*/ 373273 h 605239"/>
                <a:gd name="connsiteY21" fmla="*/ 373273 h 605239"/>
                <a:gd name="connsiteX22" fmla="*/ 373273 h 605239"/>
                <a:gd name="connsiteY22" fmla="*/ 373273 h 605239"/>
                <a:gd name="connsiteX23" fmla="*/ 373273 h 605239"/>
                <a:gd name="connsiteY23" fmla="*/ 373273 h 605239"/>
                <a:gd name="connsiteX24" fmla="*/ 373273 h 605239"/>
                <a:gd name="connsiteY24" fmla="*/ 373273 h 605239"/>
                <a:gd name="connsiteX25" fmla="*/ 373273 h 605239"/>
                <a:gd name="connsiteY25" fmla="*/ 373273 h 605239"/>
                <a:gd name="connsiteX26" fmla="*/ 373273 h 605239"/>
                <a:gd name="connsiteY26" fmla="*/ 373273 h 605239"/>
                <a:gd name="connsiteX27" fmla="*/ 373273 h 605239"/>
                <a:gd name="connsiteY27" fmla="*/ 373273 h 605239"/>
                <a:gd name="connsiteX28" fmla="*/ 373273 h 605239"/>
                <a:gd name="connsiteY28" fmla="*/ 373273 h 605239"/>
                <a:gd name="connsiteX29" fmla="*/ 373273 h 605239"/>
                <a:gd name="connsiteY29" fmla="*/ 373273 h 605239"/>
                <a:gd name="connsiteX30" fmla="*/ 373273 h 605239"/>
                <a:gd name="connsiteY30" fmla="*/ 373273 h 605239"/>
                <a:gd name="connsiteX31" fmla="*/ 373273 h 605239"/>
                <a:gd name="connsiteY31" fmla="*/ 373273 h 605239"/>
                <a:gd name="connsiteX32" fmla="*/ 373273 h 605239"/>
                <a:gd name="connsiteY32" fmla="*/ 373273 h 605239"/>
                <a:gd name="connsiteX33" fmla="*/ 373273 h 605239"/>
                <a:gd name="connsiteY33" fmla="*/ 373273 h 605239"/>
                <a:gd name="connsiteX34" fmla="*/ 373273 h 605239"/>
                <a:gd name="connsiteY34" fmla="*/ 373273 h 605239"/>
                <a:gd name="connsiteX35" fmla="*/ 373273 h 605239"/>
                <a:gd name="connsiteY35" fmla="*/ 373273 h 605239"/>
                <a:gd name="connsiteX36" fmla="*/ 373273 h 605239"/>
                <a:gd name="connsiteY36" fmla="*/ 373273 h 605239"/>
                <a:gd name="connsiteX37" fmla="*/ 373273 h 605239"/>
                <a:gd name="connsiteY37" fmla="*/ 373273 h 605239"/>
                <a:gd name="connsiteX38" fmla="*/ 373273 h 605239"/>
                <a:gd name="connsiteY38" fmla="*/ 373273 h 605239"/>
                <a:gd name="connsiteX39" fmla="*/ 373273 h 605239"/>
                <a:gd name="connsiteY39" fmla="*/ 373273 h 605239"/>
                <a:gd name="connsiteX40" fmla="*/ 373273 h 605239"/>
                <a:gd name="connsiteY40" fmla="*/ 373273 h 605239"/>
                <a:gd name="connsiteX41" fmla="*/ 373273 h 605239"/>
                <a:gd name="connsiteY41" fmla="*/ 373273 h 605239"/>
                <a:gd name="connsiteX42" fmla="*/ 373273 h 605239"/>
                <a:gd name="connsiteY42" fmla="*/ 373273 h 605239"/>
                <a:gd name="connsiteX43" fmla="*/ 373273 h 605239"/>
                <a:gd name="connsiteY43" fmla="*/ 373273 h 605239"/>
                <a:gd name="connsiteX44" fmla="*/ 373273 h 605239"/>
                <a:gd name="connsiteY44" fmla="*/ 373273 h 605239"/>
                <a:gd name="connsiteX45" fmla="*/ 373273 h 605239"/>
                <a:gd name="connsiteY45" fmla="*/ 373273 h 605239"/>
                <a:gd name="connsiteX46" fmla="*/ 373273 h 605239"/>
                <a:gd name="connsiteY46" fmla="*/ 373273 h 605239"/>
                <a:gd name="connsiteX47" fmla="*/ 373273 h 605239"/>
                <a:gd name="connsiteY47" fmla="*/ 373273 h 605239"/>
                <a:gd name="connsiteX48" fmla="*/ 373273 h 605239"/>
                <a:gd name="connsiteY48" fmla="*/ 373273 h 605239"/>
                <a:gd name="connsiteX49" fmla="*/ 373273 h 605239"/>
                <a:gd name="connsiteY49" fmla="*/ 373273 h 605239"/>
                <a:gd name="connsiteX50" fmla="*/ 373273 h 605239"/>
                <a:gd name="connsiteY50" fmla="*/ 373273 h 605239"/>
                <a:gd name="connsiteX51" fmla="*/ 373273 h 605239"/>
                <a:gd name="connsiteY51" fmla="*/ 373273 h 605239"/>
                <a:gd name="connsiteX52" fmla="*/ 373273 h 605239"/>
                <a:gd name="connsiteY52" fmla="*/ 373273 h 605239"/>
                <a:gd name="connsiteX53" fmla="*/ 373273 h 605239"/>
                <a:gd name="connsiteY53" fmla="*/ 373273 h 605239"/>
                <a:gd name="connsiteX54" fmla="*/ 373273 h 605239"/>
                <a:gd name="connsiteY54" fmla="*/ 373273 h 605239"/>
                <a:gd name="connsiteX55" fmla="*/ 373273 h 605239"/>
                <a:gd name="connsiteY55" fmla="*/ 373273 h 605239"/>
                <a:gd name="connsiteX56" fmla="*/ 373273 h 605239"/>
                <a:gd name="connsiteY56" fmla="*/ 373273 h 605239"/>
                <a:gd name="connsiteX57" fmla="*/ 373273 h 605239"/>
                <a:gd name="connsiteY57" fmla="*/ 373273 h 605239"/>
                <a:gd name="connsiteX58" fmla="*/ 373273 h 605239"/>
                <a:gd name="connsiteY58" fmla="*/ 373273 h 605239"/>
                <a:gd name="connsiteX59" fmla="*/ 373273 h 605239"/>
                <a:gd name="connsiteY59" fmla="*/ 373273 h 605239"/>
                <a:gd name="connsiteX60" fmla="*/ 373273 h 605239"/>
                <a:gd name="connsiteY60" fmla="*/ 373273 h 605239"/>
                <a:gd name="connsiteX61" fmla="*/ 373273 h 605239"/>
                <a:gd name="connsiteY61" fmla="*/ 373273 h 605239"/>
                <a:gd name="connsiteX62" fmla="*/ 373273 h 605239"/>
                <a:gd name="connsiteY62" fmla="*/ 373273 h 605239"/>
                <a:gd name="connsiteX63" fmla="*/ 373273 h 605239"/>
                <a:gd name="connsiteY63" fmla="*/ 373273 h 605239"/>
                <a:gd name="connsiteX64" fmla="*/ 373273 h 605239"/>
                <a:gd name="connsiteY64" fmla="*/ 373273 h 605239"/>
                <a:gd name="connsiteX65" fmla="*/ 373273 h 605239"/>
                <a:gd name="connsiteY65" fmla="*/ 373273 h 605239"/>
                <a:gd name="connsiteX66" fmla="*/ 373273 h 605239"/>
                <a:gd name="connsiteY66" fmla="*/ 373273 h 605239"/>
                <a:gd name="connsiteX67" fmla="*/ 373273 h 605239"/>
                <a:gd name="connsiteY67" fmla="*/ 373273 h 605239"/>
                <a:gd name="connsiteX68" fmla="*/ 373273 h 605239"/>
                <a:gd name="connsiteY68" fmla="*/ 373273 h 605239"/>
                <a:gd name="connsiteX69" fmla="*/ 373273 h 605239"/>
                <a:gd name="connsiteY69" fmla="*/ 373273 h 605239"/>
                <a:gd name="connsiteX70" fmla="*/ 373273 h 605239"/>
                <a:gd name="connsiteY70" fmla="*/ 373273 h 605239"/>
                <a:gd name="connsiteX71" fmla="*/ 373273 h 605239"/>
                <a:gd name="connsiteY71" fmla="*/ 373273 h 605239"/>
                <a:gd name="connsiteX72" fmla="*/ 373273 h 605239"/>
                <a:gd name="connsiteY72" fmla="*/ 373273 h 605239"/>
                <a:gd name="connsiteX73" fmla="*/ 373273 h 605239"/>
                <a:gd name="connsiteY73" fmla="*/ 373273 h 605239"/>
                <a:gd name="connsiteX74" fmla="*/ 373273 h 605239"/>
                <a:gd name="connsiteY74" fmla="*/ 373273 h 605239"/>
                <a:gd name="connsiteX75" fmla="*/ 373273 h 605239"/>
                <a:gd name="connsiteY75" fmla="*/ 373273 h 605239"/>
                <a:gd name="connsiteX76" fmla="*/ 373273 h 605239"/>
                <a:gd name="connsiteY76" fmla="*/ 373273 h 605239"/>
                <a:gd name="connsiteX77" fmla="*/ 373273 h 605239"/>
                <a:gd name="connsiteY77" fmla="*/ 373273 h 605239"/>
                <a:gd name="connsiteX78" fmla="*/ 373273 h 605239"/>
                <a:gd name="connsiteY78" fmla="*/ 373273 h 605239"/>
                <a:gd name="connsiteX79" fmla="*/ 373273 h 605239"/>
                <a:gd name="connsiteY79" fmla="*/ 373273 h 605239"/>
                <a:gd name="connsiteX80" fmla="*/ 373273 h 605239"/>
                <a:gd name="connsiteY80" fmla="*/ 373273 h 605239"/>
                <a:gd name="connsiteX81" fmla="*/ 373273 h 605239"/>
                <a:gd name="connsiteY81" fmla="*/ 373273 h 605239"/>
                <a:gd name="connsiteX82" fmla="*/ 373273 h 605239"/>
                <a:gd name="connsiteY82" fmla="*/ 373273 h 605239"/>
                <a:gd name="connsiteX83" fmla="*/ 373273 h 605239"/>
                <a:gd name="connsiteY83" fmla="*/ 373273 h 605239"/>
                <a:gd name="connsiteX84" fmla="*/ 373273 h 605239"/>
                <a:gd name="connsiteY84" fmla="*/ 373273 h 605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607555" h="470248">
                  <a:moveTo>
                    <a:pt x="454142" y="320079"/>
                  </a:moveTo>
                  <a:cubicBezTo>
                    <a:pt x="442193" y="320179"/>
                    <a:pt x="428352" y="321024"/>
                    <a:pt x="411796" y="323423"/>
                  </a:cubicBezTo>
                  <a:cubicBezTo>
                    <a:pt x="388654" y="326801"/>
                    <a:pt x="371209" y="331955"/>
                    <a:pt x="356790" y="337999"/>
                  </a:cubicBezTo>
                  <a:lnTo>
                    <a:pt x="387942" y="379594"/>
                  </a:lnTo>
                  <a:cubicBezTo>
                    <a:pt x="400225" y="398435"/>
                    <a:pt x="437253" y="395147"/>
                    <a:pt x="466447" y="381016"/>
                  </a:cubicBezTo>
                  <a:cubicBezTo>
                    <a:pt x="492704" y="368128"/>
                    <a:pt x="515490" y="345287"/>
                    <a:pt x="507213" y="323334"/>
                  </a:cubicBezTo>
                  <a:cubicBezTo>
                    <a:pt x="507035" y="322890"/>
                    <a:pt x="507035" y="322357"/>
                    <a:pt x="506946" y="321912"/>
                  </a:cubicBezTo>
                  <a:cubicBezTo>
                    <a:pt x="500092" y="322001"/>
                    <a:pt x="492971" y="321735"/>
                    <a:pt x="485139" y="321201"/>
                  </a:cubicBezTo>
                  <a:cubicBezTo>
                    <a:pt x="476149" y="320624"/>
                    <a:pt x="466091" y="319979"/>
                    <a:pt x="454142" y="320079"/>
                  </a:cubicBezTo>
                  <a:close/>
                  <a:moveTo>
                    <a:pt x="400262" y="81013"/>
                  </a:moveTo>
                  <a:cubicBezTo>
                    <a:pt x="411071" y="82519"/>
                    <a:pt x="421932" y="85453"/>
                    <a:pt x="432232" y="89498"/>
                  </a:cubicBezTo>
                  <a:cubicBezTo>
                    <a:pt x="471919" y="104968"/>
                    <a:pt x="509292" y="140264"/>
                    <a:pt x="497546" y="181072"/>
                  </a:cubicBezTo>
                  <a:cubicBezTo>
                    <a:pt x="495589" y="187652"/>
                    <a:pt x="489538" y="192008"/>
                    <a:pt x="482953" y="192008"/>
                  </a:cubicBezTo>
                  <a:cubicBezTo>
                    <a:pt x="481618" y="192008"/>
                    <a:pt x="480195" y="191830"/>
                    <a:pt x="478771" y="191386"/>
                  </a:cubicBezTo>
                  <a:cubicBezTo>
                    <a:pt x="470673" y="189074"/>
                    <a:pt x="466135" y="180717"/>
                    <a:pt x="468449" y="172626"/>
                  </a:cubicBezTo>
                  <a:cubicBezTo>
                    <a:pt x="474500" y="151377"/>
                    <a:pt x="448694" y="128439"/>
                    <a:pt x="421198" y="117682"/>
                  </a:cubicBezTo>
                  <a:cubicBezTo>
                    <a:pt x="393880" y="107102"/>
                    <a:pt x="359355" y="105768"/>
                    <a:pt x="348143" y="128173"/>
                  </a:cubicBezTo>
                  <a:cubicBezTo>
                    <a:pt x="344405" y="135641"/>
                    <a:pt x="335329" y="138753"/>
                    <a:pt x="327854" y="134930"/>
                  </a:cubicBezTo>
                  <a:cubicBezTo>
                    <a:pt x="320380" y="131196"/>
                    <a:pt x="317354" y="122038"/>
                    <a:pt x="321003" y="114570"/>
                  </a:cubicBezTo>
                  <a:cubicBezTo>
                    <a:pt x="335885" y="84830"/>
                    <a:pt x="367836" y="76495"/>
                    <a:pt x="400262" y="81013"/>
                  </a:cubicBezTo>
                  <a:close/>
                  <a:moveTo>
                    <a:pt x="304274" y="30307"/>
                  </a:moveTo>
                  <a:cubicBezTo>
                    <a:pt x="294751" y="30307"/>
                    <a:pt x="285316" y="30751"/>
                    <a:pt x="276059" y="31462"/>
                  </a:cubicBezTo>
                  <a:cubicBezTo>
                    <a:pt x="274190" y="49416"/>
                    <a:pt x="263598" y="67902"/>
                    <a:pt x="253985" y="84611"/>
                  </a:cubicBezTo>
                  <a:cubicBezTo>
                    <a:pt x="250158" y="91188"/>
                    <a:pt x="244906" y="100253"/>
                    <a:pt x="242592" y="106119"/>
                  </a:cubicBezTo>
                  <a:cubicBezTo>
                    <a:pt x="250692" y="106830"/>
                    <a:pt x="258880" y="112607"/>
                    <a:pt x="258880" y="121317"/>
                  </a:cubicBezTo>
                  <a:cubicBezTo>
                    <a:pt x="258880" y="129760"/>
                    <a:pt x="252116" y="136515"/>
                    <a:pt x="243660" y="136515"/>
                  </a:cubicBezTo>
                  <a:cubicBezTo>
                    <a:pt x="229330" y="136515"/>
                    <a:pt x="219450" y="132071"/>
                    <a:pt x="214288" y="123183"/>
                  </a:cubicBezTo>
                  <a:cubicBezTo>
                    <a:pt x="205565" y="107986"/>
                    <a:pt x="215801" y="90121"/>
                    <a:pt x="227728" y="69502"/>
                  </a:cubicBezTo>
                  <a:cubicBezTo>
                    <a:pt x="233691" y="59103"/>
                    <a:pt x="240723" y="46394"/>
                    <a:pt x="244016" y="35817"/>
                  </a:cubicBezTo>
                  <a:cubicBezTo>
                    <a:pt x="183936" y="46394"/>
                    <a:pt x="132044" y="71635"/>
                    <a:pt x="94394" y="101498"/>
                  </a:cubicBezTo>
                  <a:cubicBezTo>
                    <a:pt x="89232" y="129760"/>
                    <a:pt x="104096" y="155268"/>
                    <a:pt x="117714" y="160601"/>
                  </a:cubicBezTo>
                  <a:cubicBezTo>
                    <a:pt x="126259" y="163889"/>
                    <a:pt x="134003" y="158734"/>
                    <a:pt x="140856" y="144869"/>
                  </a:cubicBezTo>
                  <a:cubicBezTo>
                    <a:pt x="144683" y="137404"/>
                    <a:pt x="153762" y="134382"/>
                    <a:pt x="161239" y="138115"/>
                  </a:cubicBezTo>
                  <a:cubicBezTo>
                    <a:pt x="168716" y="141848"/>
                    <a:pt x="171742" y="151002"/>
                    <a:pt x="168004" y="158468"/>
                  </a:cubicBezTo>
                  <a:cubicBezTo>
                    <a:pt x="155631" y="183175"/>
                    <a:pt x="138364" y="191885"/>
                    <a:pt x="122610" y="191885"/>
                  </a:cubicBezTo>
                  <a:cubicBezTo>
                    <a:pt x="117002" y="191885"/>
                    <a:pt x="111573" y="190819"/>
                    <a:pt x="106677" y="188864"/>
                  </a:cubicBezTo>
                  <a:cubicBezTo>
                    <a:pt x="86561" y="181042"/>
                    <a:pt x="69472" y="157668"/>
                    <a:pt x="64487" y="129316"/>
                  </a:cubicBezTo>
                  <a:cubicBezTo>
                    <a:pt x="43215" y="152868"/>
                    <a:pt x="31021" y="177132"/>
                    <a:pt x="30219" y="197840"/>
                  </a:cubicBezTo>
                  <a:cubicBezTo>
                    <a:pt x="28795" y="241123"/>
                    <a:pt x="78907" y="253833"/>
                    <a:pt x="114332" y="257477"/>
                  </a:cubicBezTo>
                  <a:cubicBezTo>
                    <a:pt x="140055" y="227525"/>
                    <a:pt x="193994" y="227525"/>
                    <a:pt x="236451" y="227525"/>
                  </a:cubicBezTo>
                  <a:cubicBezTo>
                    <a:pt x="270630" y="227525"/>
                    <a:pt x="309437" y="227525"/>
                    <a:pt x="320919" y="213216"/>
                  </a:cubicBezTo>
                  <a:cubicBezTo>
                    <a:pt x="325548" y="207528"/>
                    <a:pt x="326438" y="198107"/>
                    <a:pt x="323590" y="185220"/>
                  </a:cubicBezTo>
                  <a:cubicBezTo>
                    <a:pt x="321809" y="177043"/>
                    <a:pt x="326972" y="168955"/>
                    <a:pt x="335161" y="167178"/>
                  </a:cubicBezTo>
                  <a:cubicBezTo>
                    <a:pt x="336229" y="167000"/>
                    <a:pt x="337297" y="166822"/>
                    <a:pt x="338365" y="166822"/>
                  </a:cubicBezTo>
                  <a:cubicBezTo>
                    <a:pt x="345397" y="166822"/>
                    <a:pt x="351627" y="171710"/>
                    <a:pt x="353229" y="178820"/>
                  </a:cubicBezTo>
                  <a:cubicBezTo>
                    <a:pt x="358036" y="201040"/>
                    <a:pt x="355187" y="219082"/>
                    <a:pt x="344595" y="232236"/>
                  </a:cubicBezTo>
                  <a:cubicBezTo>
                    <a:pt x="323946" y="257832"/>
                    <a:pt x="281399" y="257832"/>
                    <a:pt x="236451" y="257832"/>
                  </a:cubicBezTo>
                  <a:cubicBezTo>
                    <a:pt x="170051" y="257832"/>
                    <a:pt x="129641" y="260943"/>
                    <a:pt x="129641" y="303337"/>
                  </a:cubicBezTo>
                  <a:cubicBezTo>
                    <a:pt x="129641" y="323957"/>
                    <a:pt x="159281" y="364040"/>
                    <a:pt x="213397" y="364040"/>
                  </a:cubicBezTo>
                  <a:cubicBezTo>
                    <a:pt x="255053" y="364040"/>
                    <a:pt x="273745" y="351775"/>
                    <a:pt x="297421" y="336310"/>
                  </a:cubicBezTo>
                  <a:cubicBezTo>
                    <a:pt x="322165" y="320135"/>
                    <a:pt x="350203" y="301737"/>
                    <a:pt x="407435" y="293383"/>
                  </a:cubicBezTo>
                  <a:cubicBezTo>
                    <a:pt x="418116" y="291872"/>
                    <a:pt x="427462" y="290983"/>
                    <a:pt x="436184" y="290450"/>
                  </a:cubicBezTo>
                  <a:cubicBezTo>
                    <a:pt x="433069" y="283518"/>
                    <a:pt x="429420" y="276585"/>
                    <a:pt x="425058" y="269297"/>
                  </a:cubicBezTo>
                  <a:cubicBezTo>
                    <a:pt x="410461" y="244945"/>
                    <a:pt x="392304" y="214638"/>
                    <a:pt x="411974" y="175265"/>
                  </a:cubicBezTo>
                  <a:cubicBezTo>
                    <a:pt x="415713" y="167800"/>
                    <a:pt x="424791" y="164689"/>
                    <a:pt x="432268" y="168422"/>
                  </a:cubicBezTo>
                  <a:cubicBezTo>
                    <a:pt x="439745" y="172155"/>
                    <a:pt x="442771" y="181309"/>
                    <a:pt x="439033" y="188775"/>
                  </a:cubicBezTo>
                  <a:cubicBezTo>
                    <a:pt x="427373" y="212149"/>
                    <a:pt x="435561" y="227881"/>
                    <a:pt x="451049" y="253655"/>
                  </a:cubicBezTo>
                  <a:cubicBezTo>
                    <a:pt x="457724" y="264853"/>
                    <a:pt x="464756" y="276763"/>
                    <a:pt x="469117" y="290006"/>
                  </a:cubicBezTo>
                  <a:cubicBezTo>
                    <a:pt x="475615" y="290272"/>
                    <a:pt x="481578" y="290628"/>
                    <a:pt x="487097" y="290983"/>
                  </a:cubicBezTo>
                  <a:cubicBezTo>
                    <a:pt x="518072" y="293027"/>
                    <a:pt x="531067" y="293916"/>
                    <a:pt x="566937" y="261743"/>
                  </a:cubicBezTo>
                  <a:cubicBezTo>
                    <a:pt x="576283" y="253299"/>
                    <a:pt x="584649" y="211172"/>
                    <a:pt x="566581" y="163889"/>
                  </a:cubicBezTo>
                  <a:cubicBezTo>
                    <a:pt x="547533" y="113940"/>
                    <a:pt x="488076" y="30307"/>
                    <a:pt x="304274" y="30307"/>
                  </a:cubicBezTo>
                  <a:close/>
                  <a:moveTo>
                    <a:pt x="304274" y="0"/>
                  </a:moveTo>
                  <a:cubicBezTo>
                    <a:pt x="506234" y="0"/>
                    <a:pt x="573078" y="95809"/>
                    <a:pt x="594885" y="153046"/>
                  </a:cubicBezTo>
                  <a:cubicBezTo>
                    <a:pt x="616692" y="210194"/>
                    <a:pt x="607880" y="265653"/>
                    <a:pt x="587142" y="284317"/>
                  </a:cubicBezTo>
                  <a:cubicBezTo>
                    <a:pt x="566759" y="302537"/>
                    <a:pt x="551271" y="312136"/>
                    <a:pt x="536674" y="317113"/>
                  </a:cubicBezTo>
                  <a:cubicBezTo>
                    <a:pt x="546198" y="350442"/>
                    <a:pt x="524124" y="386526"/>
                    <a:pt x="479709" y="408212"/>
                  </a:cubicBezTo>
                  <a:cubicBezTo>
                    <a:pt x="461018" y="417366"/>
                    <a:pt x="439923" y="422788"/>
                    <a:pt x="420430" y="422965"/>
                  </a:cubicBezTo>
                  <a:lnTo>
                    <a:pt x="437609" y="445985"/>
                  </a:lnTo>
                  <a:cubicBezTo>
                    <a:pt x="442682" y="452650"/>
                    <a:pt x="441258" y="462160"/>
                    <a:pt x="434582" y="467226"/>
                  </a:cubicBezTo>
                  <a:cubicBezTo>
                    <a:pt x="431912" y="469270"/>
                    <a:pt x="428708" y="470248"/>
                    <a:pt x="425504" y="470248"/>
                  </a:cubicBezTo>
                  <a:cubicBezTo>
                    <a:pt x="420964" y="470248"/>
                    <a:pt x="416336" y="468115"/>
                    <a:pt x="413398" y="464116"/>
                  </a:cubicBezTo>
                  <a:lnTo>
                    <a:pt x="329375" y="351953"/>
                  </a:lnTo>
                  <a:cubicBezTo>
                    <a:pt x="324035" y="355152"/>
                    <a:pt x="318961" y="358441"/>
                    <a:pt x="313976" y="361729"/>
                  </a:cubicBezTo>
                  <a:cubicBezTo>
                    <a:pt x="309081" y="364929"/>
                    <a:pt x="304185" y="368040"/>
                    <a:pt x="299201" y="371150"/>
                  </a:cubicBezTo>
                  <a:lnTo>
                    <a:pt x="359015" y="445540"/>
                  </a:lnTo>
                  <a:cubicBezTo>
                    <a:pt x="364266" y="452028"/>
                    <a:pt x="363287" y="461627"/>
                    <a:pt x="356700" y="466871"/>
                  </a:cubicBezTo>
                  <a:cubicBezTo>
                    <a:pt x="353941" y="469093"/>
                    <a:pt x="350559" y="470248"/>
                    <a:pt x="347266" y="470248"/>
                  </a:cubicBezTo>
                  <a:cubicBezTo>
                    <a:pt x="342815" y="470248"/>
                    <a:pt x="338454" y="468293"/>
                    <a:pt x="335428" y="464560"/>
                  </a:cubicBezTo>
                  <a:lnTo>
                    <a:pt x="271342" y="384926"/>
                  </a:lnTo>
                  <a:cubicBezTo>
                    <a:pt x="256121" y="390614"/>
                    <a:pt x="237875" y="394347"/>
                    <a:pt x="213397" y="394347"/>
                  </a:cubicBezTo>
                  <a:cubicBezTo>
                    <a:pt x="142725" y="394347"/>
                    <a:pt x="99379" y="341376"/>
                    <a:pt x="99379" y="303337"/>
                  </a:cubicBezTo>
                  <a:cubicBezTo>
                    <a:pt x="99379" y="297205"/>
                    <a:pt x="99913" y="291605"/>
                    <a:pt x="100892" y="286362"/>
                  </a:cubicBezTo>
                  <a:cubicBezTo>
                    <a:pt x="7968" y="273474"/>
                    <a:pt x="-755" y="220237"/>
                    <a:pt x="46" y="196774"/>
                  </a:cubicBezTo>
                  <a:cubicBezTo>
                    <a:pt x="3072" y="107630"/>
                    <a:pt x="139432" y="0"/>
                    <a:pt x="304274" y="0"/>
                  </a:cubicBezTo>
                  <a:close/>
                </a:path>
              </a:pathLst>
            </a:custGeom>
            <a:solidFill>
              <a:srgbClr val="575756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srgbClr val="1D1D1A"/>
                </a:solidFill>
                <a:latin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</p:grpSp>
      <p:grpSp>
        <p:nvGrpSpPr>
          <p:cNvPr id="46" name="组合 45">
            <a:extLst>
              <a:ext uri="{FF2B5EF4-FFF2-40B4-BE49-F238E27FC236}">
                <a16:creationId xmlns:a16="http://schemas.microsoft.com/office/drawing/2014/main" id="{0DCE6B96-E538-452E-82EF-7DED80EA2DA5}"/>
              </a:ext>
            </a:extLst>
          </p:cNvPr>
          <p:cNvGrpSpPr/>
          <p:nvPr/>
        </p:nvGrpSpPr>
        <p:grpSpPr>
          <a:xfrm>
            <a:off x="1273833" y="2041995"/>
            <a:ext cx="1437110" cy="1437111"/>
            <a:chOff x="1127823" y="2041995"/>
            <a:chExt cx="1437110" cy="1437111"/>
          </a:xfrm>
        </p:grpSpPr>
        <p:sp>
          <p:nvSpPr>
            <p:cNvPr id="11" name="椭圆 10"/>
            <p:cNvSpPr>
              <a:spLocks noChangeAspect="1"/>
            </p:cNvSpPr>
            <p:nvPr/>
          </p:nvSpPr>
          <p:spPr>
            <a:xfrm>
              <a:off x="1127823" y="2041995"/>
              <a:ext cx="1437110" cy="1437111"/>
            </a:xfrm>
            <a:prstGeom prst="ellipse">
              <a:avLst/>
            </a:prstGeom>
            <a:gradFill flip="none" rotWithShape="1">
              <a:gsLst>
                <a:gs pos="38000">
                  <a:srgbClr val="666666">
                    <a:lumMod val="60000"/>
                    <a:lumOff val="40000"/>
                    <a:alpha val="2000"/>
                  </a:srgbClr>
                </a:gs>
                <a:gs pos="100000">
                  <a:srgbClr val="666666">
                    <a:lumMod val="60000"/>
                    <a:lumOff val="40000"/>
                    <a:alpha val="15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 algn="ctr">
              <a:gradFill flip="none" rotWithShape="1">
                <a:gsLst>
                  <a:gs pos="0">
                    <a:srgbClr val="666666">
                      <a:lumMod val="60000"/>
                      <a:lumOff val="40000"/>
                      <a:alpha val="80000"/>
                    </a:srgbClr>
                  </a:gs>
                  <a:gs pos="100000">
                    <a:srgbClr val="666666">
                      <a:lumMod val="60000"/>
                      <a:lumOff val="40000"/>
                      <a:alpha val="40000"/>
                    </a:srgbClr>
                  </a:gs>
                </a:gsLst>
                <a:lin ang="0" scaled="0"/>
                <a:tileRect/>
              </a:gra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square" lIns="0" tIns="0" rIns="0" bIns="0" anchor="ctr" anchorCtr="1"/>
            <a:lstStyle/>
            <a:p>
              <a:pPr algn="ctr" defTabSz="914355"/>
              <a:endParaRPr lang="zh-CN" altLang="en-US" sz="1200" b="1" kern="0" spc="50">
                <a:solidFill>
                  <a:sysClr val="windowText" lastClr="000000"/>
                </a:solidFill>
                <a:cs typeface="Arial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4" name="hexagonal-interconnections_83803"/>
            <p:cNvSpPr>
              <a:spLocks noChangeAspect="1"/>
            </p:cNvSpPr>
            <p:nvPr/>
          </p:nvSpPr>
          <p:spPr bwMode="auto">
            <a:xfrm>
              <a:off x="1565200" y="2512064"/>
              <a:ext cx="562356" cy="496973"/>
            </a:xfrm>
            <a:custGeom>
              <a:avLst/>
              <a:gdLst>
                <a:gd name="connsiteX0" fmla="*/ 433837 w 608769"/>
                <a:gd name="connsiteY0" fmla="*/ 451337 h 537991"/>
                <a:gd name="connsiteX1" fmla="*/ 477235 w 608769"/>
                <a:gd name="connsiteY1" fmla="*/ 494664 h 537991"/>
                <a:gd name="connsiteX2" fmla="*/ 433837 w 608769"/>
                <a:gd name="connsiteY2" fmla="*/ 537991 h 537991"/>
                <a:gd name="connsiteX3" fmla="*/ 390439 w 608769"/>
                <a:gd name="connsiteY3" fmla="*/ 494664 h 537991"/>
                <a:gd name="connsiteX4" fmla="*/ 433837 w 608769"/>
                <a:gd name="connsiteY4" fmla="*/ 451337 h 537991"/>
                <a:gd name="connsiteX5" fmla="*/ 174862 w 608769"/>
                <a:gd name="connsiteY5" fmla="*/ 451337 h 537991"/>
                <a:gd name="connsiteX6" fmla="*/ 218331 w 608769"/>
                <a:gd name="connsiteY6" fmla="*/ 494664 h 537991"/>
                <a:gd name="connsiteX7" fmla="*/ 174862 w 608769"/>
                <a:gd name="connsiteY7" fmla="*/ 537991 h 537991"/>
                <a:gd name="connsiteX8" fmla="*/ 131393 w 608769"/>
                <a:gd name="connsiteY8" fmla="*/ 494664 h 537991"/>
                <a:gd name="connsiteX9" fmla="*/ 174862 w 608769"/>
                <a:gd name="connsiteY9" fmla="*/ 451337 h 537991"/>
                <a:gd name="connsiteX10" fmla="*/ 303863 w 608769"/>
                <a:gd name="connsiteY10" fmla="*/ 435344 h 537991"/>
                <a:gd name="connsiteX11" fmla="*/ 239590 w 608769"/>
                <a:gd name="connsiteY11" fmla="*/ 477394 h 537991"/>
                <a:gd name="connsiteX12" fmla="*/ 368267 w 608769"/>
                <a:gd name="connsiteY12" fmla="*/ 477394 h 537991"/>
                <a:gd name="connsiteX13" fmla="*/ 521078 w 608769"/>
                <a:gd name="connsiteY13" fmla="*/ 310770 h 537991"/>
                <a:gd name="connsiteX14" fmla="*/ 551187 w 608769"/>
                <a:gd name="connsiteY14" fmla="*/ 328209 h 537991"/>
                <a:gd name="connsiteX15" fmla="*/ 478716 w 608769"/>
                <a:gd name="connsiteY15" fmla="*/ 453665 h 537991"/>
                <a:gd name="connsiteX16" fmla="*/ 448867 w 608769"/>
                <a:gd name="connsiteY16" fmla="*/ 435836 h 537991"/>
                <a:gd name="connsiteX17" fmla="*/ 87624 w 608769"/>
                <a:gd name="connsiteY17" fmla="*/ 310770 h 537991"/>
                <a:gd name="connsiteX18" fmla="*/ 159972 w 608769"/>
                <a:gd name="connsiteY18" fmla="*/ 435836 h 537991"/>
                <a:gd name="connsiteX19" fmla="*/ 130120 w 608769"/>
                <a:gd name="connsiteY19" fmla="*/ 453665 h 537991"/>
                <a:gd name="connsiteX20" fmla="*/ 57511 w 608769"/>
                <a:gd name="connsiteY20" fmla="*/ 328209 h 537991"/>
                <a:gd name="connsiteX21" fmla="*/ 87624 w 608769"/>
                <a:gd name="connsiteY21" fmla="*/ 310770 h 537991"/>
                <a:gd name="connsiteX22" fmla="*/ 303993 w 608769"/>
                <a:gd name="connsiteY22" fmla="*/ 294092 h 537991"/>
                <a:gd name="connsiteX23" fmla="*/ 258103 w 608769"/>
                <a:gd name="connsiteY23" fmla="*/ 374286 h 537991"/>
                <a:gd name="connsiteX24" fmla="*/ 303863 w 608769"/>
                <a:gd name="connsiteY24" fmla="*/ 404229 h 537991"/>
                <a:gd name="connsiteX25" fmla="*/ 350145 w 608769"/>
                <a:gd name="connsiteY25" fmla="*/ 374026 h 537991"/>
                <a:gd name="connsiteX26" fmla="*/ 447011 w 608769"/>
                <a:gd name="connsiteY26" fmla="*/ 282115 h 537991"/>
                <a:gd name="connsiteX27" fmla="*/ 447011 w 608769"/>
                <a:gd name="connsiteY27" fmla="*/ 310756 h 537991"/>
                <a:gd name="connsiteX28" fmla="*/ 490946 w 608769"/>
                <a:gd name="connsiteY28" fmla="*/ 282115 h 537991"/>
                <a:gd name="connsiteX29" fmla="*/ 327069 w 608769"/>
                <a:gd name="connsiteY29" fmla="*/ 282115 h 537991"/>
                <a:gd name="connsiteX30" fmla="*/ 372047 w 608769"/>
                <a:gd name="connsiteY30" fmla="*/ 359706 h 537991"/>
                <a:gd name="connsiteX31" fmla="*/ 420937 w 608769"/>
                <a:gd name="connsiteY31" fmla="*/ 327810 h 537991"/>
                <a:gd name="connsiteX32" fmla="*/ 420937 w 608769"/>
                <a:gd name="connsiteY32" fmla="*/ 282115 h 537991"/>
                <a:gd name="connsiteX33" fmla="*/ 186789 w 608769"/>
                <a:gd name="connsiteY33" fmla="*/ 282115 h 537991"/>
                <a:gd name="connsiteX34" fmla="*/ 186789 w 608769"/>
                <a:gd name="connsiteY34" fmla="*/ 327810 h 537991"/>
                <a:gd name="connsiteX35" fmla="*/ 236200 w 608769"/>
                <a:gd name="connsiteY35" fmla="*/ 359966 h 537991"/>
                <a:gd name="connsiteX36" fmla="*/ 280787 w 608769"/>
                <a:gd name="connsiteY36" fmla="*/ 282115 h 537991"/>
                <a:gd name="connsiteX37" fmla="*/ 116910 w 608769"/>
                <a:gd name="connsiteY37" fmla="*/ 282115 h 537991"/>
                <a:gd name="connsiteX38" fmla="*/ 160715 w 608769"/>
                <a:gd name="connsiteY38" fmla="*/ 310756 h 537991"/>
                <a:gd name="connsiteX39" fmla="*/ 160715 w 608769"/>
                <a:gd name="connsiteY39" fmla="*/ 282115 h 537991"/>
                <a:gd name="connsiteX40" fmla="*/ 447011 w 608769"/>
                <a:gd name="connsiteY40" fmla="*/ 227437 h 537991"/>
                <a:gd name="connsiteX41" fmla="*/ 447011 w 608769"/>
                <a:gd name="connsiteY41" fmla="*/ 256078 h 537991"/>
                <a:gd name="connsiteX42" fmla="*/ 490946 w 608769"/>
                <a:gd name="connsiteY42" fmla="*/ 256078 h 537991"/>
                <a:gd name="connsiteX43" fmla="*/ 160715 w 608769"/>
                <a:gd name="connsiteY43" fmla="*/ 227437 h 537991"/>
                <a:gd name="connsiteX44" fmla="*/ 116910 w 608769"/>
                <a:gd name="connsiteY44" fmla="*/ 256078 h 537991"/>
                <a:gd name="connsiteX45" fmla="*/ 160715 w 608769"/>
                <a:gd name="connsiteY45" fmla="*/ 256078 h 537991"/>
                <a:gd name="connsiteX46" fmla="*/ 565300 w 608769"/>
                <a:gd name="connsiteY46" fmla="*/ 225598 h 537991"/>
                <a:gd name="connsiteX47" fmla="*/ 608769 w 608769"/>
                <a:gd name="connsiteY47" fmla="*/ 269031 h 537991"/>
                <a:gd name="connsiteX48" fmla="*/ 565300 w 608769"/>
                <a:gd name="connsiteY48" fmla="*/ 312464 h 537991"/>
                <a:gd name="connsiteX49" fmla="*/ 521831 w 608769"/>
                <a:gd name="connsiteY49" fmla="*/ 269031 h 537991"/>
                <a:gd name="connsiteX50" fmla="*/ 565300 w 608769"/>
                <a:gd name="connsiteY50" fmla="*/ 225598 h 537991"/>
                <a:gd name="connsiteX51" fmla="*/ 43469 w 608769"/>
                <a:gd name="connsiteY51" fmla="*/ 225598 h 537991"/>
                <a:gd name="connsiteX52" fmla="*/ 86938 w 608769"/>
                <a:gd name="connsiteY52" fmla="*/ 269031 h 537991"/>
                <a:gd name="connsiteX53" fmla="*/ 43469 w 608769"/>
                <a:gd name="connsiteY53" fmla="*/ 312464 h 537991"/>
                <a:gd name="connsiteX54" fmla="*/ 0 w 608769"/>
                <a:gd name="connsiteY54" fmla="*/ 269031 h 537991"/>
                <a:gd name="connsiteX55" fmla="*/ 43469 w 608769"/>
                <a:gd name="connsiteY55" fmla="*/ 225598 h 537991"/>
                <a:gd name="connsiteX56" fmla="*/ 236722 w 608769"/>
                <a:gd name="connsiteY56" fmla="*/ 177836 h 537991"/>
                <a:gd name="connsiteX57" fmla="*/ 186789 w 608769"/>
                <a:gd name="connsiteY57" fmla="*/ 210382 h 537991"/>
                <a:gd name="connsiteX58" fmla="*/ 186789 w 608769"/>
                <a:gd name="connsiteY58" fmla="*/ 256078 h 537991"/>
                <a:gd name="connsiteX59" fmla="*/ 281961 w 608769"/>
                <a:gd name="connsiteY59" fmla="*/ 256078 h 537991"/>
                <a:gd name="connsiteX60" fmla="*/ 370744 w 608769"/>
                <a:gd name="connsiteY60" fmla="*/ 177575 h 537991"/>
                <a:gd name="connsiteX61" fmla="*/ 325765 w 608769"/>
                <a:gd name="connsiteY61" fmla="*/ 256078 h 537991"/>
                <a:gd name="connsiteX62" fmla="*/ 420937 w 608769"/>
                <a:gd name="connsiteY62" fmla="*/ 256078 h 537991"/>
                <a:gd name="connsiteX63" fmla="*/ 420937 w 608769"/>
                <a:gd name="connsiteY63" fmla="*/ 210382 h 537991"/>
                <a:gd name="connsiteX64" fmla="*/ 303863 w 608769"/>
                <a:gd name="connsiteY64" fmla="*/ 133963 h 537991"/>
                <a:gd name="connsiteX65" fmla="*/ 258494 w 608769"/>
                <a:gd name="connsiteY65" fmla="*/ 163515 h 537991"/>
                <a:gd name="connsiteX66" fmla="*/ 303863 w 608769"/>
                <a:gd name="connsiteY66" fmla="*/ 241887 h 537991"/>
                <a:gd name="connsiteX67" fmla="*/ 348841 w 608769"/>
                <a:gd name="connsiteY67" fmla="*/ 163255 h 537991"/>
                <a:gd name="connsiteX68" fmla="*/ 478716 w 608769"/>
                <a:gd name="connsiteY68" fmla="*/ 84537 h 537991"/>
                <a:gd name="connsiteX69" fmla="*/ 551187 w 608769"/>
                <a:gd name="connsiteY69" fmla="*/ 209984 h 537991"/>
                <a:gd name="connsiteX70" fmla="*/ 521078 w 608769"/>
                <a:gd name="connsiteY70" fmla="*/ 227291 h 537991"/>
                <a:gd name="connsiteX71" fmla="*/ 448867 w 608769"/>
                <a:gd name="connsiteY71" fmla="*/ 102365 h 537991"/>
                <a:gd name="connsiteX72" fmla="*/ 478716 w 608769"/>
                <a:gd name="connsiteY72" fmla="*/ 84537 h 537991"/>
                <a:gd name="connsiteX73" fmla="*/ 130120 w 608769"/>
                <a:gd name="connsiteY73" fmla="*/ 84537 h 537991"/>
                <a:gd name="connsiteX74" fmla="*/ 159972 w 608769"/>
                <a:gd name="connsiteY74" fmla="*/ 102365 h 537991"/>
                <a:gd name="connsiteX75" fmla="*/ 87624 w 608769"/>
                <a:gd name="connsiteY75" fmla="*/ 227291 h 537991"/>
                <a:gd name="connsiteX76" fmla="*/ 57511 w 608769"/>
                <a:gd name="connsiteY76" fmla="*/ 209984 h 537991"/>
                <a:gd name="connsiteX77" fmla="*/ 239590 w 608769"/>
                <a:gd name="connsiteY77" fmla="*/ 60799 h 537991"/>
                <a:gd name="connsiteX78" fmla="*/ 303863 w 608769"/>
                <a:gd name="connsiteY78" fmla="*/ 102849 h 537991"/>
                <a:gd name="connsiteX79" fmla="*/ 368267 w 608769"/>
                <a:gd name="connsiteY79" fmla="*/ 60799 h 537991"/>
                <a:gd name="connsiteX80" fmla="*/ 233332 w 608769"/>
                <a:gd name="connsiteY80" fmla="*/ 26039 h 537991"/>
                <a:gd name="connsiteX81" fmla="*/ 375698 w 608769"/>
                <a:gd name="connsiteY81" fmla="*/ 26039 h 537991"/>
                <a:gd name="connsiteX82" fmla="*/ 373221 w 608769"/>
                <a:gd name="connsiteY82" fmla="*/ 43354 h 537991"/>
                <a:gd name="connsiteX83" fmla="*/ 385867 w 608769"/>
                <a:gd name="connsiteY83" fmla="*/ 80457 h 537991"/>
                <a:gd name="connsiteX84" fmla="*/ 327721 w 608769"/>
                <a:gd name="connsiteY84" fmla="*/ 118341 h 537991"/>
                <a:gd name="connsiteX85" fmla="*/ 361878 w 608769"/>
                <a:gd name="connsiteY85" fmla="*/ 140603 h 537991"/>
                <a:gd name="connsiteX86" fmla="*/ 392255 w 608769"/>
                <a:gd name="connsiteY86" fmla="*/ 87487 h 537991"/>
                <a:gd name="connsiteX87" fmla="*/ 414549 w 608769"/>
                <a:gd name="connsiteY87" fmla="*/ 101026 h 537991"/>
                <a:gd name="connsiteX88" fmla="*/ 383650 w 608769"/>
                <a:gd name="connsiteY88" fmla="*/ 154923 h 537991"/>
                <a:gd name="connsiteX89" fmla="*/ 420937 w 608769"/>
                <a:gd name="connsiteY89" fmla="*/ 179268 h 537991"/>
                <a:gd name="connsiteX90" fmla="*/ 420937 w 608769"/>
                <a:gd name="connsiteY90" fmla="*/ 102718 h 537991"/>
                <a:gd name="connsiteX91" fmla="*/ 433974 w 608769"/>
                <a:gd name="connsiteY91" fmla="*/ 104151 h 537991"/>
                <a:gd name="connsiteX92" fmla="*/ 447011 w 608769"/>
                <a:gd name="connsiteY92" fmla="*/ 102718 h 537991"/>
                <a:gd name="connsiteX93" fmla="*/ 447011 w 608769"/>
                <a:gd name="connsiteY93" fmla="*/ 196322 h 537991"/>
                <a:gd name="connsiteX94" fmla="*/ 512588 w 608769"/>
                <a:gd name="connsiteY94" fmla="*/ 239023 h 537991"/>
                <a:gd name="connsiteX95" fmla="*/ 504635 w 608769"/>
                <a:gd name="connsiteY95" fmla="*/ 269096 h 537991"/>
                <a:gd name="connsiteX96" fmla="*/ 512588 w 608769"/>
                <a:gd name="connsiteY96" fmla="*/ 299039 h 537991"/>
                <a:gd name="connsiteX97" fmla="*/ 447011 w 608769"/>
                <a:gd name="connsiteY97" fmla="*/ 341870 h 537991"/>
                <a:gd name="connsiteX98" fmla="*/ 447011 w 608769"/>
                <a:gd name="connsiteY98" fmla="*/ 435344 h 537991"/>
                <a:gd name="connsiteX99" fmla="*/ 433974 w 608769"/>
                <a:gd name="connsiteY99" fmla="*/ 433911 h 537991"/>
                <a:gd name="connsiteX100" fmla="*/ 420937 w 608769"/>
                <a:gd name="connsiteY100" fmla="*/ 435344 h 537991"/>
                <a:gd name="connsiteX101" fmla="*/ 420937 w 608769"/>
                <a:gd name="connsiteY101" fmla="*/ 358924 h 537991"/>
                <a:gd name="connsiteX102" fmla="*/ 385085 w 608769"/>
                <a:gd name="connsiteY102" fmla="*/ 382358 h 537991"/>
                <a:gd name="connsiteX103" fmla="*/ 416374 w 608769"/>
                <a:gd name="connsiteY103" fmla="*/ 436515 h 537991"/>
                <a:gd name="connsiteX104" fmla="*/ 393689 w 608769"/>
                <a:gd name="connsiteY104" fmla="*/ 449273 h 537991"/>
                <a:gd name="connsiteX105" fmla="*/ 363182 w 608769"/>
                <a:gd name="connsiteY105" fmla="*/ 396548 h 537991"/>
                <a:gd name="connsiteX106" fmla="*/ 327721 w 608769"/>
                <a:gd name="connsiteY106" fmla="*/ 419721 h 537991"/>
                <a:gd name="connsiteX107" fmla="*/ 385867 w 608769"/>
                <a:gd name="connsiteY107" fmla="*/ 457735 h 537991"/>
                <a:gd name="connsiteX108" fmla="*/ 373221 w 608769"/>
                <a:gd name="connsiteY108" fmla="*/ 494708 h 537991"/>
                <a:gd name="connsiteX109" fmla="*/ 375698 w 608769"/>
                <a:gd name="connsiteY109" fmla="*/ 512023 h 537991"/>
                <a:gd name="connsiteX110" fmla="*/ 233332 w 608769"/>
                <a:gd name="connsiteY110" fmla="*/ 512023 h 537991"/>
                <a:gd name="connsiteX111" fmla="*/ 235809 w 608769"/>
                <a:gd name="connsiteY111" fmla="*/ 494708 h 537991"/>
                <a:gd name="connsiteX112" fmla="*/ 222772 w 608769"/>
                <a:gd name="connsiteY112" fmla="*/ 457215 h 537991"/>
                <a:gd name="connsiteX113" fmla="*/ 280135 w 608769"/>
                <a:gd name="connsiteY113" fmla="*/ 419721 h 537991"/>
                <a:gd name="connsiteX114" fmla="*/ 245065 w 608769"/>
                <a:gd name="connsiteY114" fmla="*/ 396939 h 537991"/>
                <a:gd name="connsiteX115" fmla="*/ 215210 w 608769"/>
                <a:gd name="connsiteY115" fmla="*/ 449143 h 537991"/>
                <a:gd name="connsiteX116" fmla="*/ 192395 w 608769"/>
                <a:gd name="connsiteY116" fmla="*/ 436515 h 537991"/>
                <a:gd name="connsiteX117" fmla="*/ 223163 w 608769"/>
                <a:gd name="connsiteY117" fmla="*/ 382618 h 537991"/>
                <a:gd name="connsiteX118" fmla="*/ 186789 w 608769"/>
                <a:gd name="connsiteY118" fmla="*/ 358924 h 537991"/>
                <a:gd name="connsiteX119" fmla="*/ 186789 w 608769"/>
                <a:gd name="connsiteY119" fmla="*/ 435083 h 537991"/>
                <a:gd name="connsiteX120" fmla="*/ 175056 w 608769"/>
                <a:gd name="connsiteY120" fmla="*/ 433911 h 537991"/>
                <a:gd name="connsiteX121" fmla="*/ 160715 w 608769"/>
                <a:gd name="connsiteY121" fmla="*/ 435734 h 537991"/>
                <a:gd name="connsiteX122" fmla="*/ 160715 w 608769"/>
                <a:gd name="connsiteY122" fmla="*/ 341870 h 537991"/>
                <a:gd name="connsiteX123" fmla="*/ 96181 w 608769"/>
                <a:gd name="connsiteY123" fmla="*/ 299690 h 537991"/>
                <a:gd name="connsiteX124" fmla="*/ 104394 w 608769"/>
                <a:gd name="connsiteY124" fmla="*/ 269096 h 537991"/>
                <a:gd name="connsiteX125" fmla="*/ 96181 w 608769"/>
                <a:gd name="connsiteY125" fmla="*/ 238502 h 537991"/>
                <a:gd name="connsiteX126" fmla="*/ 160715 w 608769"/>
                <a:gd name="connsiteY126" fmla="*/ 196322 h 537991"/>
                <a:gd name="connsiteX127" fmla="*/ 160715 w 608769"/>
                <a:gd name="connsiteY127" fmla="*/ 102458 h 537991"/>
                <a:gd name="connsiteX128" fmla="*/ 175056 w 608769"/>
                <a:gd name="connsiteY128" fmla="*/ 104151 h 537991"/>
                <a:gd name="connsiteX129" fmla="*/ 186789 w 608769"/>
                <a:gd name="connsiteY129" fmla="*/ 102979 h 537991"/>
                <a:gd name="connsiteX130" fmla="*/ 186789 w 608769"/>
                <a:gd name="connsiteY130" fmla="*/ 179268 h 537991"/>
                <a:gd name="connsiteX131" fmla="*/ 223684 w 608769"/>
                <a:gd name="connsiteY131" fmla="*/ 155183 h 537991"/>
                <a:gd name="connsiteX132" fmla="*/ 192656 w 608769"/>
                <a:gd name="connsiteY132" fmla="*/ 101547 h 537991"/>
                <a:gd name="connsiteX133" fmla="*/ 215341 w 608769"/>
                <a:gd name="connsiteY133" fmla="*/ 88789 h 537991"/>
                <a:gd name="connsiteX134" fmla="*/ 245457 w 608769"/>
                <a:gd name="connsiteY134" fmla="*/ 140993 h 537991"/>
                <a:gd name="connsiteX135" fmla="*/ 280135 w 608769"/>
                <a:gd name="connsiteY135" fmla="*/ 118341 h 537991"/>
                <a:gd name="connsiteX136" fmla="*/ 222772 w 608769"/>
                <a:gd name="connsiteY136" fmla="*/ 80977 h 537991"/>
                <a:gd name="connsiteX137" fmla="*/ 235809 w 608769"/>
                <a:gd name="connsiteY137" fmla="*/ 43354 h 537991"/>
                <a:gd name="connsiteX138" fmla="*/ 233332 w 608769"/>
                <a:gd name="connsiteY138" fmla="*/ 26039 h 537991"/>
                <a:gd name="connsiteX139" fmla="*/ 433837 w 608769"/>
                <a:gd name="connsiteY139" fmla="*/ 0 h 537991"/>
                <a:gd name="connsiteX140" fmla="*/ 477235 w 608769"/>
                <a:gd name="connsiteY140" fmla="*/ 43433 h 537991"/>
                <a:gd name="connsiteX141" fmla="*/ 433837 w 608769"/>
                <a:gd name="connsiteY141" fmla="*/ 86866 h 537991"/>
                <a:gd name="connsiteX142" fmla="*/ 390439 w 608769"/>
                <a:gd name="connsiteY142" fmla="*/ 43433 h 537991"/>
                <a:gd name="connsiteX143" fmla="*/ 433837 w 608769"/>
                <a:gd name="connsiteY143" fmla="*/ 0 h 537991"/>
                <a:gd name="connsiteX144" fmla="*/ 174862 w 608769"/>
                <a:gd name="connsiteY144" fmla="*/ 0 h 537991"/>
                <a:gd name="connsiteX145" fmla="*/ 218331 w 608769"/>
                <a:gd name="connsiteY145" fmla="*/ 43433 h 537991"/>
                <a:gd name="connsiteX146" fmla="*/ 174862 w 608769"/>
                <a:gd name="connsiteY146" fmla="*/ 86866 h 537991"/>
                <a:gd name="connsiteX147" fmla="*/ 131393 w 608769"/>
                <a:gd name="connsiteY147" fmla="*/ 43433 h 537991"/>
                <a:gd name="connsiteX148" fmla="*/ 174862 w 608769"/>
                <a:gd name="connsiteY148" fmla="*/ 0 h 537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</a:cxnLst>
              <a:rect l="l" t="t" r="r" b="b"/>
              <a:pathLst>
                <a:path w="608769" h="537991">
                  <a:moveTo>
                    <a:pt x="433837" y="451337"/>
                  </a:moveTo>
                  <a:cubicBezTo>
                    <a:pt x="457805" y="451337"/>
                    <a:pt x="477235" y="470735"/>
                    <a:pt x="477235" y="494664"/>
                  </a:cubicBezTo>
                  <a:cubicBezTo>
                    <a:pt x="477235" y="518593"/>
                    <a:pt x="457805" y="537991"/>
                    <a:pt x="433837" y="537991"/>
                  </a:cubicBezTo>
                  <a:cubicBezTo>
                    <a:pt x="409869" y="537991"/>
                    <a:pt x="390439" y="518593"/>
                    <a:pt x="390439" y="494664"/>
                  </a:cubicBezTo>
                  <a:cubicBezTo>
                    <a:pt x="390439" y="470735"/>
                    <a:pt x="409869" y="451337"/>
                    <a:pt x="433837" y="451337"/>
                  </a:cubicBezTo>
                  <a:close/>
                  <a:moveTo>
                    <a:pt x="174862" y="451337"/>
                  </a:moveTo>
                  <a:cubicBezTo>
                    <a:pt x="198869" y="451337"/>
                    <a:pt x="218331" y="470735"/>
                    <a:pt x="218331" y="494664"/>
                  </a:cubicBezTo>
                  <a:cubicBezTo>
                    <a:pt x="218331" y="518593"/>
                    <a:pt x="198869" y="537991"/>
                    <a:pt x="174862" y="537991"/>
                  </a:cubicBezTo>
                  <a:cubicBezTo>
                    <a:pt x="150855" y="537991"/>
                    <a:pt x="131393" y="518593"/>
                    <a:pt x="131393" y="494664"/>
                  </a:cubicBezTo>
                  <a:cubicBezTo>
                    <a:pt x="131393" y="470735"/>
                    <a:pt x="150855" y="451337"/>
                    <a:pt x="174862" y="451337"/>
                  </a:cubicBezTo>
                  <a:close/>
                  <a:moveTo>
                    <a:pt x="303863" y="435344"/>
                  </a:moveTo>
                  <a:lnTo>
                    <a:pt x="239590" y="477394"/>
                  </a:lnTo>
                  <a:lnTo>
                    <a:pt x="368267" y="477394"/>
                  </a:lnTo>
                  <a:close/>
                  <a:moveTo>
                    <a:pt x="521078" y="310770"/>
                  </a:moveTo>
                  <a:cubicBezTo>
                    <a:pt x="529159" y="319229"/>
                    <a:pt x="539456" y="325346"/>
                    <a:pt x="551187" y="328209"/>
                  </a:cubicBezTo>
                  <a:lnTo>
                    <a:pt x="478716" y="453665"/>
                  </a:lnTo>
                  <a:cubicBezTo>
                    <a:pt x="470765" y="445076"/>
                    <a:pt x="460468" y="438699"/>
                    <a:pt x="448867" y="435836"/>
                  </a:cubicBezTo>
                  <a:close/>
                  <a:moveTo>
                    <a:pt x="87624" y="310770"/>
                  </a:moveTo>
                  <a:lnTo>
                    <a:pt x="159972" y="435836"/>
                  </a:lnTo>
                  <a:cubicBezTo>
                    <a:pt x="148370" y="438699"/>
                    <a:pt x="137942" y="445076"/>
                    <a:pt x="130120" y="453665"/>
                  </a:cubicBezTo>
                  <a:lnTo>
                    <a:pt x="57511" y="328209"/>
                  </a:lnTo>
                  <a:cubicBezTo>
                    <a:pt x="69243" y="325346"/>
                    <a:pt x="79672" y="319229"/>
                    <a:pt x="87624" y="310770"/>
                  </a:cubicBezTo>
                  <a:close/>
                  <a:moveTo>
                    <a:pt x="303993" y="294092"/>
                  </a:moveTo>
                  <a:lnTo>
                    <a:pt x="258103" y="374286"/>
                  </a:lnTo>
                  <a:lnTo>
                    <a:pt x="303863" y="404229"/>
                  </a:lnTo>
                  <a:lnTo>
                    <a:pt x="350145" y="374026"/>
                  </a:lnTo>
                  <a:close/>
                  <a:moveTo>
                    <a:pt x="447011" y="282115"/>
                  </a:moveTo>
                  <a:lnTo>
                    <a:pt x="447011" y="310756"/>
                  </a:lnTo>
                  <a:lnTo>
                    <a:pt x="490946" y="282115"/>
                  </a:lnTo>
                  <a:close/>
                  <a:moveTo>
                    <a:pt x="327069" y="282115"/>
                  </a:moveTo>
                  <a:lnTo>
                    <a:pt x="372047" y="359706"/>
                  </a:lnTo>
                  <a:lnTo>
                    <a:pt x="420937" y="327810"/>
                  </a:lnTo>
                  <a:lnTo>
                    <a:pt x="420937" y="282115"/>
                  </a:lnTo>
                  <a:close/>
                  <a:moveTo>
                    <a:pt x="186789" y="282115"/>
                  </a:moveTo>
                  <a:lnTo>
                    <a:pt x="186789" y="327810"/>
                  </a:lnTo>
                  <a:lnTo>
                    <a:pt x="236200" y="359966"/>
                  </a:lnTo>
                  <a:lnTo>
                    <a:pt x="280787" y="282115"/>
                  </a:lnTo>
                  <a:close/>
                  <a:moveTo>
                    <a:pt x="116910" y="282115"/>
                  </a:moveTo>
                  <a:lnTo>
                    <a:pt x="160715" y="310756"/>
                  </a:lnTo>
                  <a:lnTo>
                    <a:pt x="160715" y="282115"/>
                  </a:lnTo>
                  <a:close/>
                  <a:moveTo>
                    <a:pt x="447011" y="227437"/>
                  </a:moveTo>
                  <a:lnTo>
                    <a:pt x="447011" y="256078"/>
                  </a:lnTo>
                  <a:lnTo>
                    <a:pt x="490946" y="256078"/>
                  </a:lnTo>
                  <a:close/>
                  <a:moveTo>
                    <a:pt x="160715" y="227437"/>
                  </a:moveTo>
                  <a:lnTo>
                    <a:pt x="116910" y="256078"/>
                  </a:lnTo>
                  <a:lnTo>
                    <a:pt x="160715" y="256078"/>
                  </a:lnTo>
                  <a:close/>
                  <a:moveTo>
                    <a:pt x="565300" y="225598"/>
                  </a:moveTo>
                  <a:cubicBezTo>
                    <a:pt x="589307" y="225598"/>
                    <a:pt x="608769" y="245044"/>
                    <a:pt x="608769" y="269031"/>
                  </a:cubicBezTo>
                  <a:cubicBezTo>
                    <a:pt x="608769" y="293018"/>
                    <a:pt x="589307" y="312464"/>
                    <a:pt x="565300" y="312464"/>
                  </a:cubicBezTo>
                  <a:cubicBezTo>
                    <a:pt x="541293" y="312464"/>
                    <a:pt x="521831" y="293018"/>
                    <a:pt x="521831" y="269031"/>
                  </a:cubicBezTo>
                  <a:cubicBezTo>
                    <a:pt x="521831" y="245044"/>
                    <a:pt x="541293" y="225598"/>
                    <a:pt x="565300" y="225598"/>
                  </a:cubicBezTo>
                  <a:close/>
                  <a:moveTo>
                    <a:pt x="43469" y="225598"/>
                  </a:moveTo>
                  <a:cubicBezTo>
                    <a:pt x="67476" y="225598"/>
                    <a:pt x="86938" y="245044"/>
                    <a:pt x="86938" y="269031"/>
                  </a:cubicBezTo>
                  <a:cubicBezTo>
                    <a:pt x="86938" y="293018"/>
                    <a:pt x="67476" y="312464"/>
                    <a:pt x="43469" y="312464"/>
                  </a:cubicBezTo>
                  <a:cubicBezTo>
                    <a:pt x="19462" y="312464"/>
                    <a:pt x="0" y="293018"/>
                    <a:pt x="0" y="269031"/>
                  </a:cubicBezTo>
                  <a:cubicBezTo>
                    <a:pt x="0" y="245044"/>
                    <a:pt x="19462" y="225598"/>
                    <a:pt x="43469" y="225598"/>
                  </a:cubicBezTo>
                  <a:close/>
                  <a:moveTo>
                    <a:pt x="236722" y="177836"/>
                  </a:moveTo>
                  <a:lnTo>
                    <a:pt x="186789" y="210382"/>
                  </a:lnTo>
                  <a:lnTo>
                    <a:pt x="186789" y="256078"/>
                  </a:lnTo>
                  <a:lnTo>
                    <a:pt x="281961" y="256078"/>
                  </a:lnTo>
                  <a:close/>
                  <a:moveTo>
                    <a:pt x="370744" y="177575"/>
                  </a:moveTo>
                  <a:lnTo>
                    <a:pt x="325765" y="256078"/>
                  </a:lnTo>
                  <a:lnTo>
                    <a:pt x="420937" y="256078"/>
                  </a:lnTo>
                  <a:lnTo>
                    <a:pt x="420937" y="210382"/>
                  </a:lnTo>
                  <a:close/>
                  <a:moveTo>
                    <a:pt x="303863" y="133963"/>
                  </a:moveTo>
                  <a:lnTo>
                    <a:pt x="258494" y="163515"/>
                  </a:lnTo>
                  <a:lnTo>
                    <a:pt x="303863" y="241887"/>
                  </a:lnTo>
                  <a:lnTo>
                    <a:pt x="348841" y="163255"/>
                  </a:lnTo>
                  <a:close/>
                  <a:moveTo>
                    <a:pt x="478716" y="84537"/>
                  </a:moveTo>
                  <a:lnTo>
                    <a:pt x="551187" y="209984"/>
                  </a:lnTo>
                  <a:cubicBezTo>
                    <a:pt x="539456" y="212716"/>
                    <a:pt x="529159" y="218963"/>
                    <a:pt x="521078" y="227291"/>
                  </a:cubicBezTo>
                  <a:lnTo>
                    <a:pt x="448867" y="102365"/>
                  </a:lnTo>
                  <a:cubicBezTo>
                    <a:pt x="460468" y="99372"/>
                    <a:pt x="470765" y="93126"/>
                    <a:pt x="478716" y="84537"/>
                  </a:cubicBezTo>
                  <a:close/>
                  <a:moveTo>
                    <a:pt x="130120" y="84537"/>
                  </a:moveTo>
                  <a:cubicBezTo>
                    <a:pt x="137942" y="93126"/>
                    <a:pt x="148370" y="99372"/>
                    <a:pt x="159972" y="102365"/>
                  </a:cubicBezTo>
                  <a:lnTo>
                    <a:pt x="87624" y="227291"/>
                  </a:lnTo>
                  <a:cubicBezTo>
                    <a:pt x="79672" y="218963"/>
                    <a:pt x="69243" y="212716"/>
                    <a:pt x="57511" y="209984"/>
                  </a:cubicBezTo>
                  <a:close/>
                  <a:moveTo>
                    <a:pt x="239590" y="60799"/>
                  </a:moveTo>
                  <a:lnTo>
                    <a:pt x="303863" y="102849"/>
                  </a:lnTo>
                  <a:lnTo>
                    <a:pt x="368267" y="60799"/>
                  </a:lnTo>
                  <a:close/>
                  <a:moveTo>
                    <a:pt x="233332" y="26039"/>
                  </a:moveTo>
                  <a:lnTo>
                    <a:pt x="375698" y="26039"/>
                  </a:lnTo>
                  <a:cubicBezTo>
                    <a:pt x="374133" y="31507"/>
                    <a:pt x="373221" y="37365"/>
                    <a:pt x="373221" y="43354"/>
                  </a:cubicBezTo>
                  <a:cubicBezTo>
                    <a:pt x="373221" y="57284"/>
                    <a:pt x="377914" y="70172"/>
                    <a:pt x="385867" y="80457"/>
                  </a:cubicBezTo>
                  <a:lnTo>
                    <a:pt x="327721" y="118341"/>
                  </a:lnTo>
                  <a:lnTo>
                    <a:pt x="361878" y="140603"/>
                  </a:lnTo>
                  <a:lnTo>
                    <a:pt x="392255" y="87487"/>
                  </a:lnTo>
                  <a:cubicBezTo>
                    <a:pt x="398513" y="93475"/>
                    <a:pt x="406205" y="98162"/>
                    <a:pt x="414549" y="101026"/>
                  </a:cubicBezTo>
                  <a:lnTo>
                    <a:pt x="383650" y="154923"/>
                  </a:lnTo>
                  <a:lnTo>
                    <a:pt x="420937" y="179268"/>
                  </a:lnTo>
                  <a:lnTo>
                    <a:pt x="420937" y="102718"/>
                  </a:lnTo>
                  <a:cubicBezTo>
                    <a:pt x="425239" y="103630"/>
                    <a:pt x="429541" y="104151"/>
                    <a:pt x="433974" y="104151"/>
                  </a:cubicBezTo>
                  <a:cubicBezTo>
                    <a:pt x="438537" y="104151"/>
                    <a:pt x="442839" y="103630"/>
                    <a:pt x="447011" y="102718"/>
                  </a:cubicBezTo>
                  <a:lnTo>
                    <a:pt x="447011" y="196322"/>
                  </a:lnTo>
                  <a:lnTo>
                    <a:pt x="512588" y="239023"/>
                  </a:lnTo>
                  <a:cubicBezTo>
                    <a:pt x="507504" y="247876"/>
                    <a:pt x="504635" y="258160"/>
                    <a:pt x="504635" y="269096"/>
                  </a:cubicBezTo>
                  <a:cubicBezTo>
                    <a:pt x="504635" y="280032"/>
                    <a:pt x="507504" y="290186"/>
                    <a:pt x="512588" y="299039"/>
                  </a:cubicBezTo>
                  <a:lnTo>
                    <a:pt x="447011" y="341870"/>
                  </a:lnTo>
                  <a:lnTo>
                    <a:pt x="447011" y="435344"/>
                  </a:lnTo>
                  <a:cubicBezTo>
                    <a:pt x="442839" y="434432"/>
                    <a:pt x="438537" y="433911"/>
                    <a:pt x="433974" y="433911"/>
                  </a:cubicBezTo>
                  <a:cubicBezTo>
                    <a:pt x="429541" y="433911"/>
                    <a:pt x="425239" y="434432"/>
                    <a:pt x="420937" y="435344"/>
                  </a:cubicBezTo>
                  <a:lnTo>
                    <a:pt x="420937" y="358924"/>
                  </a:lnTo>
                  <a:lnTo>
                    <a:pt x="385085" y="382358"/>
                  </a:lnTo>
                  <a:lnTo>
                    <a:pt x="416374" y="436515"/>
                  </a:lnTo>
                  <a:cubicBezTo>
                    <a:pt x="407900" y="439119"/>
                    <a:pt x="400208" y="443545"/>
                    <a:pt x="393689" y="449273"/>
                  </a:cubicBezTo>
                  <a:lnTo>
                    <a:pt x="363182" y="396548"/>
                  </a:lnTo>
                  <a:lnTo>
                    <a:pt x="327721" y="419721"/>
                  </a:lnTo>
                  <a:lnTo>
                    <a:pt x="385867" y="457735"/>
                  </a:lnTo>
                  <a:cubicBezTo>
                    <a:pt x="377914" y="468020"/>
                    <a:pt x="373221" y="480778"/>
                    <a:pt x="373221" y="494708"/>
                  </a:cubicBezTo>
                  <a:cubicBezTo>
                    <a:pt x="373221" y="500697"/>
                    <a:pt x="374133" y="506555"/>
                    <a:pt x="375698" y="512023"/>
                  </a:cubicBezTo>
                  <a:lnTo>
                    <a:pt x="233332" y="512023"/>
                  </a:lnTo>
                  <a:cubicBezTo>
                    <a:pt x="235027" y="506555"/>
                    <a:pt x="235809" y="500697"/>
                    <a:pt x="235809" y="494708"/>
                  </a:cubicBezTo>
                  <a:cubicBezTo>
                    <a:pt x="235809" y="480518"/>
                    <a:pt x="230985" y="467499"/>
                    <a:pt x="222772" y="457215"/>
                  </a:cubicBezTo>
                  <a:lnTo>
                    <a:pt x="280135" y="419721"/>
                  </a:lnTo>
                  <a:lnTo>
                    <a:pt x="245065" y="396939"/>
                  </a:lnTo>
                  <a:lnTo>
                    <a:pt x="215210" y="449143"/>
                  </a:lnTo>
                  <a:cubicBezTo>
                    <a:pt x="208692" y="443415"/>
                    <a:pt x="200869" y="438989"/>
                    <a:pt x="192395" y="436515"/>
                  </a:cubicBezTo>
                  <a:lnTo>
                    <a:pt x="223163" y="382618"/>
                  </a:lnTo>
                  <a:lnTo>
                    <a:pt x="186789" y="358924"/>
                  </a:lnTo>
                  <a:lnTo>
                    <a:pt x="186789" y="435083"/>
                  </a:lnTo>
                  <a:cubicBezTo>
                    <a:pt x="183009" y="434432"/>
                    <a:pt x="179097" y="433911"/>
                    <a:pt x="175056" y="433911"/>
                  </a:cubicBezTo>
                  <a:cubicBezTo>
                    <a:pt x="170102" y="433911"/>
                    <a:pt x="165278" y="434562"/>
                    <a:pt x="160715" y="435734"/>
                  </a:cubicBezTo>
                  <a:lnTo>
                    <a:pt x="160715" y="341870"/>
                  </a:lnTo>
                  <a:lnTo>
                    <a:pt x="96181" y="299690"/>
                  </a:lnTo>
                  <a:cubicBezTo>
                    <a:pt x="101396" y="290707"/>
                    <a:pt x="104394" y="280162"/>
                    <a:pt x="104394" y="269096"/>
                  </a:cubicBezTo>
                  <a:cubicBezTo>
                    <a:pt x="104394" y="257900"/>
                    <a:pt x="101396" y="247485"/>
                    <a:pt x="96181" y="238502"/>
                  </a:cubicBezTo>
                  <a:lnTo>
                    <a:pt x="160715" y="196322"/>
                  </a:lnTo>
                  <a:lnTo>
                    <a:pt x="160715" y="102458"/>
                  </a:lnTo>
                  <a:cubicBezTo>
                    <a:pt x="165278" y="103630"/>
                    <a:pt x="170102" y="104151"/>
                    <a:pt x="175056" y="104151"/>
                  </a:cubicBezTo>
                  <a:cubicBezTo>
                    <a:pt x="179097" y="104151"/>
                    <a:pt x="183009" y="103760"/>
                    <a:pt x="186789" y="102979"/>
                  </a:cubicBezTo>
                  <a:lnTo>
                    <a:pt x="186789" y="179268"/>
                  </a:lnTo>
                  <a:lnTo>
                    <a:pt x="223684" y="155183"/>
                  </a:lnTo>
                  <a:lnTo>
                    <a:pt x="192656" y="101547"/>
                  </a:lnTo>
                  <a:cubicBezTo>
                    <a:pt x="201130" y="98943"/>
                    <a:pt x="208822" y="94647"/>
                    <a:pt x="215341" y="88789"/>
                  </a:cubicBezTo>
                  <a:lnTo>
                    <a:pt x="245457" y="140993"/>
                  </a:lnTo>
                  <a:lnTo>
                    <a:pt x="280135" y="118341"/>
                  </a:lnTo>
                  <a:lnTo>
                    <a:pt x="222772" y="80977"/>
                  </a:lnTo>
                  <a:cubicBezTo>
                    <a:pt x="230985" y="70563"/>
                    <a:pt x="235809" y="57544"/>
                    <a:pt x="235809" y="43354"/>
                  </a:cubicBezTo>
                  <a:cubicBezTo>
                    <a:pt x="235809" y="37365"/>
                    <a:pt x="235027" y="31507"/>
                    <a:pt x="233332" y="26039"/>
                  </a:cubicBezTo>
                  <a:close/>
                  <a:moveTo>
                    <a:pt x="433837" y="0"/>
                  </a:moveTo>
                  <a:cubicBezTo>
                    <a:pt x="457805" y="0"/>
                    <a:pt x="477235" y="19446"/>
                    <a:pt x="477235" y="43433"/>
                  </a:cubicBezTo>
                  <a:cubicBezTo>
                    <a:pt x="477235" y="67420"/>
                    <a:pt x="457805" y="86866"/>
                    <a:pt x="433837" y="86866"/>
                  </a:cubicBezTo>
                  <a:cubicBezTo>
                    <a:pt x="409869" y="86866"/>
                    <a:pt x="390439" y="67420"/>
                    <a:pt x="390439" y="43433"/>
                  </a:cubicBezTo>
                  <a:cubicBezTo>
                    <a:pt x="390439" y="19446"/>
                    <a:pt x="409869" y="0"/>
                    <a:pt x="433837" y="0"/>
                  </a:cubicBezTo>
                  <a:close/>
                  <a:moveTo>
                    <a:pt x="174862" y="0"/>
                  </a:moveTo>
                  <a:cubicBezTo>
                    <a:pt x="198869" y="0"/>
                    <a:pt x="218331" y="19446"/>
                    <a:pt x="218331" y="43433"/>
                  </a:cubicBezTo>
                  <a:cubicBezTo>
                    <a:pt x="218331" y="67420"/>
                    <a:pt x="198869" y="86866"/>
                    <a:pt x="174862" y="86866"/>
                  </a:cubicBezTo>
                  <a:cubicBezTo>
                    <a:pt x="150855" y="86866"/>
                    <a:pt x="131393" y="67420"/>
                    <a:pt x="131393" y="43433"/>
                  </a:cubicBezTo>
                  <a:cubicBezTo>
                    <a:pt x="131393" y="19446"/>
                    <a:pt x="150855" y="0"/>
                    <a:pt x="174862" y="0"/>
                  </a:cubicBezTo>
                  <a:close/>
                </a:path>
              </a:pathLst>
            </a:custGeom>
            <a:solidFill>
              <a:srgbClr val="575756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srgbClr val="1D1D1A"/>
                </a:solidFill>
                <a:latin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</p:grpSp>
      <p:grpSp>
        <p:nvGrpSpPr>
          <p:cNvPr id="44" name="组合 43">
            <a:extLst>
              <a:ext uri="{FF2B5EF4-FFF2-40B4-BE49-F238E27FC236}">
                <a16:creationId xmlns:a16="http://schemas.microsoft.com/office/drawing/2014/main" id="{D32F7C68-8B92-49D2-B5C8-5BA48D263A28}"/>
              </a:ext>
            </a:extLst>
          </p:cNvPr>
          <p:cNvGrpSpPr/>
          <p:nvPr/>
        </p:nvGrpSpPr>
        <p:grpSpPr>
          <a:xfrm>
            <a:off x="6736849" y="2041995"/>
            <a:ext cx="1437110" cy="1437111"/>
            <a:chOff x="6770825" y="2041995"/>
            <a:chExt cx="1437110" cy="1437111"/>
          </a:xfrm>
        </p:grpSpPr>
        <p:sp>
          <p:nvSpPr>
            <p:cNvPr id="14" name="椭圆 13"/>
            <p:cNvSpPr>
              <a:spLocks noChangeAspect="1"/>
            </p:cNvSpPr>
            <p:nvPr/>
          </p:nvSpPr>
          <p:spPr>
            <a:xfrm>
              <a:off x="6770825" y="2041995"/>
              <a:ext cx="1437110" cy="1437111"/>
            </a:xfrm>
            <a:prstGeom prst="ellipse">
              <a:avLst/>
            </a:prstGeom>
            <a:gradFill flip="none" rotWithShape="1">
              <a:gsLst>
                <a:gs pos="38000">
                  <a:srgbClr val="666666">
                    <a:lumMod val="60000"/>
                    <a:lumOff val="40000"/>
                    <a:alpha val="2000"/>
                  </a:srgbClr>
                </a:gs>
                <a:gs pos="100000">
                  <a:srgbClr val="666666">
                    <a:lumMod val="60000"/>
                    <a:lumOff val="40000"/>
                    <a:alpha val="15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 algn="ctr">
              <a:gradFill flip="none" rotWithShape="1">
                <a:gsLst>
                  <a:gs pos="0">
                    <a:srgbClr val="666666">
                      <a:lumMod val="60000"/>
                      <a:lumOff val="40000"/>
                      <a:alpha val="80000"/>
                    </a:srgbClr>
                  </a:gs>
                  <a:gs pos="100000">
                    <a:srgbClr val="666666">
                      <a:lumMod val="60000"/>
                      <a:lumOff val="40000"/>
                      <a:alpha val="40000"/>
                    </a:srgbClr>
                  </a:gs>
                </a:gsLst>
                <a:lin ang="0" scaled="0"/>
                <a:tileRect/>
              </a:gra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square" lIns="0" tIns="0" rIns="0" bIns="0" anchor="ctr" anchorCtr="1"/>
            <a:lstStyle/>
            <a:p>
              <a:pPr algn="ctr" defTabSz="914355"/>
              <a:endParaRPr lang="zh-CN" altLang="en-US" sz="1200" b="1" kern="0" spc="50">
                <a:solidFill>
                  <a:sysClr val="windowText" lastClr="000000"/>
                </a:solidFill>
                <a:cs typeface="Arial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6" name="multiplayer_155340"/>
            <p:cNvSpPr>
              <a:spLocks noChangeAspect="1"/>
            </p:cNvSpPr>
            <p:nvPr/>
          </p:nvSpPr>
          <p:spPr bwMode="auto">
            <a:xfrm>
              <a:off x="7218954" y="2490503"/>
              <a:ext cx="540855" cy="540096"/>
            </a:xfrm>
            <a:custGeom>
              <a:avLst/>
              <a:gdLst>
                <a:gd name="connsiteX0" fmla="*/ 325000 h 606722"/>
                <a:gd name="connsiteY0" fmla="*/ 325000 h 606722"/>
                <a:gd name="connsiteX1" fmla="*/ 325000 h 606722"/>
                <a:gd name="connsiteY1" fmla="*/ 325000 h 606722"/>
                <a:gd name="connsiteX2" fmla="*/ 325000 h 606722"/>
                <a:gd name="connsiteY2" fmla="*/ 325000 h 606722"/>
                <a:gd name="connsiteX3" fmla="*/ 325000 h 606722"/>
                <a:gd name="connsiteY3" fmla="*/ 325000 h 606722"/>
                <a:gd name="connsiteX4" fmla="*/ 325000 h 606722"/>
                <a:gd name="connsiteY4" fmla="*/ 325000 h 606722"/>
                <a:gd name="connsiteX5" fmla="*/ 325000 h 606722"/>
                <a:gd name="connsiteY5" fmla="*/ 325000 h 606722"/>
                <a:gd name="connsiteX6" fmla="*/ 325000 h 606722"/>
                <a:gd name="connsiteY6" fmla="*/ 325000 h 606722"/>
                <a:gd name="connsiteX7" fmla="*/ 325000 h 606722"/>
                <a:gd name="connsiteY7" fmla="*/ 325000 h 606722"/>
                <a:gd name="connsiteX8" fmla="*/ 325000 h 606722"/>
                <a:gd name="connsiteY8" fmla="*/ 325000 h 606722"/>
                <a:gd name="connsiteX9" fmla="*/ 325000 h 606722"/>
                <a:gd name="connsiteY9" fmla="*/ 325000 h 606722"/>
                <a:gd name="connsiteX10" fmla="*/ 325000 h 606722"/>
                <a:gd name="connsiteY10" fmla="*/ 325000 h 606722"/>
                <a:gd name="connsiteX11" fmla="*/ 325000 h 606722"/>
                <a:gd name="connsiteY11" fmla="*/ 325000 h 606722"/>
                <a:gd name="connsiteX12" fmla="*/ 325000 h 606722"/>
                <a:gd name="connsiteY12" fmla="*/ 325000 h 606722"/>
                <a:gd name="connsiteX13" fmla="*/ 325000 h 606722"/>
                <a:gd name="connsiteY13" fmla="*/ 325000 h 606722"/>
                <a:gd name="connsiteX14" fmla="*/ 325000 h 606722"/>
                <a:gd name="connsiteY14" fmla="*/ 325000 h 606722"/>
                <a:gd name="connsiteX15" fmla="*/ 325000 h 606722"/>
                <a:gd name="connsiteY15" fmla="*/ 325000 h 606722"/>
                <a:gd name="connsiteX16" fmla="*/ 325000 h 606722"/>
                <a:gd name="connsiteY16" fmla="*/ 325000 h 606722"/>
                <a:gd name="connsiteX17" fmla="*/ 325000 h 606722"/>
                <a:gd name="connsiteY17" fmla="*/ 325000 h 606722"/>
                <a:gd name="connsiteX18" fmla="*/ 325000 h 606722"/>
                <a:gd name="connsiteY18" fmla="*/ 325000 h 606722"/>
                <a:gd name="connsiteX19" fmla="*/ 325000 h 606722"/>
                <a:gd name="connsiteY19" fmla="*/ 325000 h 606722"/>
                <a:gd name="connsiteX20" fmla="*/ 325000 h 606722"/>
                <a:gd name="connsiteY20" fmla="*/ 325000 h 606722"/>
                <a:gd name="connsiteX21" fmla="*/ 325000 h 606722"/>
                <a:gd name="connsiteY21" fmla="*/ 325000 h 606722"/>
                <a:gd name="connsiteX22" fmla="*/ 325000 h 606722"/>
                <a:gd name="connsiteY22" fmla="*/ 325000 h 606722"/>
                <a:gd name="connsiteX23" fmla="*/ 325000 h 606722"/>
                <a:gd name="connsiteY23" fmla="*/ 325000 h 606722"/>
                <a:gd name="connsiteX24" fmla="*/ 325000 h 606722"/>
                <a:gd name="connsiteY24" fmla="*/ 325000 h 606722"/>
                <a:gd name="connsiteX25" fmla="*/ 325000 h 606722"/>
                <a:gd name="connsiteY25" fmla="*/ 325000 h 606722"/>
                <a:gd name="connsiteX26" fmla="*/ 325000 h 606722"/>
                <a:gd name="connsiteY26" fmla="*/ 325000 h 606722"/>
                <a:gd name="connsiteX27" fmla="*/ 325000 h 606722"/>
                <a:gd name="connsiteY27" fmla="*/ 325000 h 606722"/>
                <a:gd name="connsiteX28" fmla="*/ 325000 h 606722"/>
                <a:gd name="connsiteY28" fmla="*/ 325000 h 606722"/>
                <a:gd name="connsiteX29" fmla="*/ 325000 h 606722"/>
                <a:gd name="connsiteY29" fmla="*/ 325000 h 606722"/>
                <a:gd name="connsiteX30" fmla="*/ 325000 h 606722"/>
                <a:gd name="connsiteY30" fmla="*/ 325000 h 606722"/>
                <a:gd name="connsiteX31" fmla="*/ 325000 h 606722"/>
                <a:gd name="connsiteY31" fmla="*/ 325000 h 606722"/>
                <a:gd name="connsiteX32" fmla="*/ 325000 h 606722"/>
                <a:gd name="connsiteY32" fmla="*/ 325000 h 606722"/>
                <a:gd name="connsiteX33" fmla="*/ 325000 h 606722"/>
                <a:gd name="connsiteY33" fmla="*/ 325000 h 606722"/>
                <a:gd name="connsiteX34" fmla="*/ 325000 h 606722"/>
                <a:gd name="connsiteY34" fmla="*/ 325000 h 606722"/>
                <a:gd name="connsiteX35" fmla="*/ 325000 h 606722"/>
                <a:gd name="connsiteY35" fmla="*/ 325000 h 606722"/>
                <a:gd name="connsiteX36" fmla="*/ 325000 h 606722"/>
                <a:gd name="connsiteY36" fmla="*/ 325000 h 606722"/>
                <a:gd name="connsiteX37" fmla="*/ 325000 h 606722"/>
                <a:gd name="connsiteY37" fmla="*/ 325000 h 606722"/>
                <a:gd name="connsiteX38" fmla="*/ 325000 h 606722"/>
                <a:gd name="connsiteY38" fmla="*/ 325000 h 606722"/>
                <a:gd name="connsiteX39" fmla="*/ 325000 h 606722"/>
                <a:gd name="connsiteY39" fmla="*/ 325000 h 606722"/>
                <a:gd name="connsiteX40" fmla="*/ 325000 h 606722"/>
                <a:gd name="connsiteY40" fmla="*/ 325000 h 606722"/>
                <a:gd name="connsiteX41" fmla="*/ 325000 h 606722"/>
                <a:gd name="connsiteY41" fmla="*/ 325000 h 606722"/>
                <a:gd name="connsiteX42" fmla="*/ 325000 h 606722"/>
                <a:gd name="connsiteY42" fmla="*/ 325000 h 606722"/>
                <a:gd name="connsiteX43" fmla="*/ 325000 h 606722"/>
                <a:gd name="connsiteY43" fmla="*/ 325000 h 606722"/>
                <a:gd name="connsiteX44" fmla="*/ 325000 h 606722"/>
                <a:gd name="connsiteY44" fmla="*/ 325000 h 606722"/>
                <a:gd name="connsiteX45" fmla="*/ 325000 h 606722"/>
                <a:gd name="connsiteY45" fmla="*/ 325000 h 606722"/>
                <a:gd name="connsiteX46" fmla="*/ 325000 h 606722"/>
                <a:gd name="connsiteY46" fmla="*/ 325000 h 606722"/>
                <a:gd name="connsiteX47" fmla="*/ 325000 h 606722"/>
                <a:gd name="connsiteY47" fmla="*/ 325000 h 606722"/>
                <a:gd name="connsiteX48" fmla="*/ 325000 h 606722"/>
                <a:gd name="connsiteY48" fmla="*/ 325000 h 606722"/>
                <a:gd name="connsiteX49" fmla="*/ 325000 h 606722"/>
                <a:gd name="connsiteY49" fmla="*/ 325000 h 606722"/>
                <a:gd name="connsiteX50" fmla="*/ 325000 h 606722"/>
                <a:gd name="connsiteY50" fmla="*/ 325000 h 606722"/>
                <a:gd name="connsiteX51" fmla="*/ 325000 h 606722"/>
                <a:gd name="connsiteY51" fmla="*/ 325000 h 606722"/>
                <a:gd name="connsiteX52" fmla="*/ 325000 h 606722"/>
                <a:gd name="connsiteY52" fmla="*/ 325000 h 606722"/>
                <a:gd name="connsiteX53" fmla="*/ 325000 h 606722"/>
                <a:gd name="connsiteY53" fmla="*/ 325000 h 606722"/>
                <a:gd name="connsiteX54" fmla="*/ 325000 h 606722"/>
                <a:gd name="connsiteY54" fmla="*/ 325000 h 606722"/>
                <a:gd name="connsiteX55" fmla="*/ 325000 h 606722"/>
                <a:gd name="connsiteY55" fmla="*/ 325000 h 606722"/>
                <a:gd name="connsiteX56" fmla="*/ 325000 h 606722"/>
                <a:gd name="connsiteY56" fmla="*/ 325000 h 606722"/>
                <a:gd name="connsiteX57" fmla="*/ 325000 h 606722"/>
                <a:gd name="connsiteY57" fmla="*/ 325000 h 606722"/>
                <a:gd name="connsiteX58" fmla="*/ 325000 h 606722"/>
                <a:gd name="connsiteY58" fmla="*/ 325000 h 606722"/>
                <a:gd name="connsiteX59" fmla="*/ 325000 h 606722"/>
                <a:gd name="connsiteY59" fmla="*/ 325000 h 606722"/>
                <a:gd name="connsiteX60" fmla="*/ 325000 h 606722"/>
                <a:gd name="connsiteY60" fmla="*/ 325000 h 606722"/>
                <a:gd name="connsiteX61" fmla="*/ 325000 h 606722"/>
                <a:gd name="connsiteY61" fmla="*/ 325000 h 606722"/>
                <a:gd name="connsiteX62" fmla="*/ 325000 h 606722"/>
                <a:gd name="connsiteY62" fmla="*/ 325000 h 606722"/>
                <a:gd name="connsiteX63" fmla="*/ 325000 h 606722"/>
                <a:gd name="connsiteY63" fmla="*/ 325000 h 606722"/>
                <a:gd name="connsiteX64" fmla="*/ 325000 h 606722"/>
                <a:gd name="connsiteY64" fmla="*/ 325000 h 606722"/>
                <a:gd name="connsiteX65" fmla="*/ 325000 h 606722"/>
                <a:gd name="connsiteY65" fmla="*/ 325000 h 606722"/>
                <a:gd name="connsiteX66" fmla="*/ 325000 h 606722"/>
                <a:gd name="connsiteY66" fmla="*/ 325000 h 606722"/>
                <a:gd name="connsiteX67" fmla="*/ 325000 h 606722"/>
                <a:gd name="connsiteY67" fmla="*/ 325000 h 606722"/>
                <a:gd name="connsiteX68" fmla="*/ 325000 h 606722"/>
                <a:gd name="connsiteY68" fmla="*/ 325000 h 606722"/>
                <a:gd name="connsiteX69" fmla="*/ 325000 h 606722"/>
                <a:gd name="connsiteY69" fmla="*/ 325000 h 606722"/>
                <a:gd name="connsiteX70" fmla="*/ 325000 h 606722"/>
                <a:gd name="connsiteY70" fmla="*/ 325000 h 606722"/>
                <a:gd name="connsiteX71" fmla="*/ 325000 h 606722"/>
                <a:gd name="connsiteY71" fmla="*/ 325000 h 606722"/>
                <a:gd name="connsiteX72" fmla="*/ 325000 h 606722"/>
                <a:gd name="connsiteY72" fmla="*/ 325000 h 606722"/>
                <a:gd name="connsiteX73" fmla="*/ 325000 h 606722"/>
                <a:gd name="connsiteY73" fmla="*/ 325000 h 606722"/>
                <a:gd name="connsiteX74" fmla="*/ 325000 h 606722"/>
                <a:gd name="connsiteY74" fmla="*/ 325000 h 606722"/>
                <a:gd name="connsiteX75" fmla="*/ 325000 h 606722"/>
                <a:gd name="connsiteY75" fmla="*/ 325000 h 606722"/>
                <a:gd name="connsiteX76" fmla="*/ 325000 h 606722"/>
                <a:gd name="connsiteY76" fmla="*/ 325000 h 606722"/>
                <a:gd name="connsiteX77" fmla="*/ 325000 h 606722"/>
                <a:gd name="connsiteY77" fmla="*/ 325000 h 606722"/>
                <a:gd name="connsiteX78" fmla="*/ 325000 h 606722"/>
                <a:gd name="connsiteY78" fmla="*/ 325000 h 606722"/>
                <a:gd name="connsiteX79" fmla="*/ 325000 h 606722"/>
                <a:gd name="connsiteY79" fmla="*/ 325000 h 606722"/>
                <a:gd name="connsiteX80" fmla="*/ 325000 h 606722"/>
                <a:gd name="connsiteY80" fmla="*/ 325000 h 606722"/>
                <a:gd name="connsiteX81" fmla="*/ 325000 h 606722"/>
                <a:gd name="connsiteY81" fmla="*/ 325000 h 606722"/>
                <a:gd name="connsiteX82" fmla="*/ 325000 h 606722"/>
                <a:gd name="connsiteY82" fmla="*/ 325000 h 606722"/>
                <a:gd name="connsiteX83" fmla="*/ 325000 h 606722"/>
                <a:gd name="connsiteY83" fmla="*/ 325000 h 606722"/>
                <a:gd name="connsiteX84" fmla="*/ 325000 h 606722"/>
                <a:gd name="connsiteY84" fmla="*/ 325000 h 606722"/>
                <a:gd name="connsiteX85" fmla="*/ 325000 h 606722"/>
                <a:gd name="connsiteY85" fmla="*/ 325000 h 606722"/>
                <a:gd name="connsiteX86" fmla="*/ 325000 h 606722"/>
                <a:gd name="connsiteY86" fmla="*/ 325000 h 606722"/>
                <a:gd name="connsiteX87" fmla="*/ 325000 h 606722"/>
                <a:gd name="connsiteY87" fmla="*/ 325000 h 606722"/>
                <a:gd name="connsiteX88" fmla="*/ 325000 h 606722"/>
                <a:gd name="connsiteY88" fmla="*/ 325000 h 606722"/>
                <a:gd name="connsiteX89" fmla="*/ 325000 h 606722"/>
                <a:gd name="connsiteY89" fmla="*/ 325000 h 606722"/>
                <a:gd name="connsiteX90" fmla="*/ 325000 h 606722"/>
                <a:gd name="connsiteY90" fmla="*/ 325000 h 606722"/>
                <a:gd name="connsiteX91" fmla="*/ 325000 h 606722"/>
                <a:gd name="connsiteY91" fmla="*/ 325000 h 606722"/>
                <a:gd name="connsiteX92" fmla="*/ 325000 h 606722"/>
                <a:gd name="connsiteY92" fmla="*/ 325000 h 606722"/>
                <a:gd name="connsiteX93" fmla="*/ 325000 h 606722"/>
                <a:gd name="connsiteY93" fmla="*/ 325000 h 606722"/>
                <a:gd name="connsiteX94" fmla="*/ 325000 h 606722"/>
                <a:gd name="connsiteY94" fmla="*/ 325000 h 606722"/>
                <a:gd name="connsiteX95" fmla="*/ 325000 h 606722"/>
                <a:gd name="connsiteY95" fmla="*/ 325000 h 606722"/>
                <a:gd name="connsiteX96" fmla="*/ 325000 h 606722"/>
                <a:gd name="connsiteY96" fmla="*/ 325000 h 606722"/>
                <a:gd name="connsiteX97" fmla="*/ 325000 h 606722"/>
                <a:gd name="connsiteY97" fmla="*/ 325000 h 606722"/>
                <a:gd name="connsiteX98" fmla="*/ 325000 h 606722"/>
                <a:gd name="connsiteY98" fmla="*/ 325000 h 606722"/>
                <a:gd name="connsiteX99" fmla="*/ 325000 h 606722"/>
                <a:gd name="connsiteY99" fmla="*/ 325000 h 606722"/>
                <a:gd name="connsiteX100" fmla="*/ 325000 h 606722"/>
                <a:gd name="connsiteY100" fmla="*/ 325000 h 606722"/>
                <a:gd name="connsiteX101" fmla="*/ 325000 h 606722"/>
                <a:gd name="connsiteY101" fmla="*/ 325000 h 606722"/>
                <a:gd name="connsiteX102" fmla="*/ 325000 h 606722"/>
                <a:gd name="connsiteY102" fmla="*/ 325000 h 606722"/>
                <a:gd name="connsiteX103" fmla="*/ 325000 h 606722"/>
                <a:gd name="connsiteY103" fmla="*/ 325000 h 606722"/>
                <a:gd name="connsiteX104" fmla="*/ 325000 h 606722"/>
                <a:gd name="connsiteY104" fmla="*/ 325000 h 606722"/>
                <a:gd name="connsiteX105" fmla="*/ 325000 h 606722"/>
                <a:gd name="connsiteY105" fmla="*/ 325000 h 606722"/>
                <a:gd name="connsiteX106" fmla="*/ 325000 h 606722"/>
                <a:gd name="connsiteY106" fmla="*/ 325000 h 606722"/>
                <a:gd name="connsiteX107" fmla="*/ 325000 h 606722"/>
                <a:gd name="connsiteY107" fmla="*/ 325000 h 606722"/>
                <a:gd name="connsiteX108" fmla="*/ 325000 h 606722"/>
                <a:gd name="connsiteY108" fmla="*/ 325000 h 606722"/>
                <a:gd name="connsiteX109" fmla="*/ 325000 h 606722"/>
                <a:gd name="connsiteY109" fmla="*/ 325000 h 606722"/>
                <a:gd name="connsiteX110" fmla="*/ 325000 h 606722"/>
                <a:gd name="connsiteY110" fmla="*/ 325000 h 606722"/>
                <a:gd name="connsiteX111" fmla="*/ 325000 h 606722"/>
                <a:gd name="connsiteY111" fmla="*/ 325000 h 606722"/>
                <a:gd name="connsiteX112" fmla="*/ 325000 h 606722"/>
                <a:gd name="connsiteY112" fmla="*/ 325000 h 606722"/>
                <a:gd name="connsiteX113" fmla="*/ 325000 h 606722"/>
                <a:gd name="connsiteY113" fmla="*/ 325000 h 606722"/>
                <a:gd name="connsiteX114" fmla="*/ 325000 h 606722"/>
                <a:gd name="connsiteY114" fmla="*/ 325000 h 606722"/>
                <a:gd name="connsiteX115" fmla="*/ 325000 h 606722"/>
                <a:gd name="connsiteY115" fmla="*/ 325000 h 606722"/>
                <a:gd name="connsiteX116" fmla="*/ 325000 h 606722"/>
                <a:gd name="connsiteY116" fmla="*/ 325000 h 606722"/>
                <a:gd name="connsiteX117" fmla="*/ 325000 h 606722"/>
                <a:gd name="connsiteY117" fmla="*/ 325000 h 606722"/>
                <a:gd name="connsiteX118" fmla="*/ 325000 h 606722"/>
                <a:gd name="connsiteY118" fmla="*/ 325000 h 606722"/>
                <a:gd name="connsiteX119" fmla="*/ 325000 h 606722"/>
                <a:gd name="connsiteY119" fmla="*/ 325000 h 606722"/>
                <a:gd name="connsiteX120" fmla="*/ 325000 h 606722"/>
                <a:gd name="connsiteY120" fmla="*/ 325000 h 606722"/>
                <a:gd name="connsiteX121" fmla="*/ 325000 h 606722"/>
                <a:gd name="connsiteY121" fmla="*/ 325000 h 606722"/>
                <a:gd name="connsiteX122" fmla="*/ 325000 h 606722"/>
                <a:gd name="connsiteY122" fmla="*/ 325000 h 606722"/>
                <a:gd name="connsiteX123" fmla="*/ 325000 h 606722"/>
                <a:gd name="connsiteY123" fmla="*/ 325000 h 606722"/>
                <a:gd name="connsiteX124" fmla="*/ 325000 h 606722"/>
                <a:gd name="connsiteY124" fmla="*/ 325000 h 606722"/>
                <a:gd name="connsiteX125" fmla="*/ 325000 h 606722"/>
                <a:gd name="connsiteY125" fmla="*/ 325000 h 606722"/>
                <a:gd name="connsiteX126" fmla="*/ 325000 h 606722"/>
                <a:gd name="connsiteY126" fmla="*/ 325000 h 606722"/>
                <a:gd name="connsiteX127" fmla="*/ 325000 h 606722"/>
                <a:gd name="connsiteY127" fmla="*/ 325000 h 606722"/>
                <a:gd name="connsiteX128" fmla="*/ 325000 h 606722"/>
                <a:gd name="connsiteY128" fmla="*/ 325000 h 606722"/>
                <a:gd name="connsiteX129" fmla="*/ 325000 h 606722"/>
                <a:gd name="connsiteY129" fmla="*/ 325000 h 606722"/>
                <a:gd name="connsiteX130" fmla="*/ 325000 h 606722"/>
                <a:gd name="connsiteY130" fmla="*/ 325000 h 606722"/>
                <a:gd name="connsiteX131" fmla="*/ 325000 h 606722"/>
                <a:gd name="connsiteY131" fmla="*/ 325000 h 606722"/>
                <a:gd name="connsiteX132" fmla="*/ 325000 h 606722"/>
                <a:gd name="connsiteY132" fmla="*/ 325000 h 606722"/>
                <a:gd name="connsiteX133" fmla="*/ 325000 h 606722"/>
                <a:gd name="connsiteY133" fmla="*/ 325000 h 606722"/>
                <a:gd name="connsiteX134" fmla="*/ 325000 h 606722"/>
                <a:gd name="connsiteY134" fmla="*/ 325000 h 606722"/>
                <a:gd name="connsiteX135" fmla="*/ 325000 h 606722"/>
                <a:gd name="connsiteY135" fmla="*/ 325000 h 606722"/>
                <a:gd name="connsiteX136" fmla="*/ 325000 h 606722"/>
                <a:gd name="connsiteY136" fmla="*/ 325000 h 606722"/>
                <a:gd name="connsiteX137" fmla="*/ 325000 h 606722"/>
                <a:gd name="connsiteY137" fmla="*/ 325000 h 606722"/>
                <a:gd name="connsiteX138" fmla="*/ 325000 h 606722"/>
                <a:gd name="connsiteY138" fmla="*/ 325000 h 606722"/>
                <a:gd name="connsiteX139" fmla="*/ 325000 h 606722"/>
                <a:gd name="connsiteY139" fmla="*/ 325000 h 606722"/>
                <a:gd name="connsiteX140" fmla="*/ 325000 h 606722"/>
                <a:gd name="connsiteY140" fmla="*/ 325000 h 606722"/>
                <a:gd name="connsiteX141" fmla="*/ 325000 h 606722"/>
                <a:gd name="connsiteY141" fmla="*/ 325000 h 606722"/>
                <a:gd name="connsiteX142" fmla="*/ 325000 h 606722"/>
                <a:gd name="connsiteY142" fmla="*/ 325000 h 606722"/>
                <a:gd name="connsiteX143" fmla="*/ 325000 h 606722"/>
                <a:gd name="connsiteY143" fmla="*/ 325000 h 606722"/>
                <a:gd name="connsiteX144" fmla="*/ 325000 h 606722"/>
                <a:gd name="connsiteY144" fmla="*/ 325000 h 606722"/>
                <a:gd name="connsiteX145" fmla="*/ 325000 h 606722"/>
                <a:gd name="connsiteY145" fmla="*/ 325000 h 606722"/>
                <a:gd name="connsiteX146" fmla="*/ 325000 h 606722"/>
                <a:gd name="connsiteY146" fmla="*/ 325000 h 606722"/>
                <a:gd name="connsiteX147" fmla="*/ 325000 h 606722"/>
                <a:gd name="connsiteY147" fmla="*/ 325000 h 606722"/>
                <a:gd name="connsiteX148" fmla="*/ 325000 h 606722"/>
                <a:gd name="connsiteY148" fmla="*/ 325000 h 606722"/>
                <a:gd name="connsiteX149" fmla="*/ 325000 h 606722"/>
                <a:gd name="connsiteY149" fmla="*/ 325000 h 606722"/>
                <a:gd name="connsiteX150" fmla="*/ 325000 h 606722"/>
                <a:gd name="connsiteY150" fmla="*/ 325000 h 606722"/>
                <a:gd name="connsiteX151" fmla="*/ 325000 h 606722"/>
                <a:gd name="connsiteY151" fmla="*/ 325000 h 606722"/>
                <a:gd name="connsiteX152" fmla="*/ 325000 h 606722"/>
                <a:gd name="connsiteY152" fmla="*/ 325000 h 606722"/>
                <a:gd name="connsiteX153" fmla="*/ 325000 h 606722"/>
                <a:gd name="connsiteY153" fmla="*/ 325000 h 606722"/>
                <a:gd name="connsiteX154" fmla="*/ 325000 h 606722"/>
                <a:gd name="connsiteY154" fmla="*/ 325000 h 606722"/>
                <a:gd name="connsiteX155" fmla="*/ 325000 h 606722"/>
                <a:gd name="connsiteY155" fmla="*/ 325000 h 606722"/>
                <a:gd name="connsiteX156" fmla="*/ 325000 h 606722"/>
                <a:gd name="connsiteY156" fmla="*/ 325000 h 606722"/>
                <a:gd name="connsiteX157" fmla="*/ 325000 h 606722"/>
                <a:gd name="connsiteY157" fmla="*/ 325000 h 606722"/>
                <a:gd name="connsiteX158" fmla="*/ 325000 h 606722"/>
                <a:gd name="connsiteY158" fmla="*/ 325000 h 606722"/>
                <a:gd name="connsiteX159" fmla="*/ 325000 h 606722"/>
                <a:gd name="connsiteY159" fmla="*/ 325000 h 606722"/>
                <a:gd name="connsiteX160" fmla="*/ 325000 h 606722"/>
                <a:gd name="connsiteY160" fmla="*/ 325000 h 606722"/>
                <a:gd name="connsiteX161" fmla="*/ 325000 h 606722"/>
                <a:gd name="connsiteY161" fmla="*/ 325000 h 606722"/>
                <a:gd name="connsiteX162" fmla="*/ 325000 h 606722"/>
                <a:gd name="connsiteY162" fmla="*/ 325000 h 606722"/>
                <a:gd name="connsiteX163" fmla="*/ 325000 h 606722"/>
                <a:gd name="connsiteY163" fmla="*/ 325000 h 606722"/>
                <a:gd name="connsiteX164" fmla="*/ 325000 h 606722"/>
                <a:gd name="connsiteY164" fmla="*/ 325000 h 606722"/>
                <a:gd name="connsiteX165" fmla="*/ 325000 h 606722"/>
                <a:gd name="connsiteY165" fmla="*/ 325000 h 606722"/>
                <a:gd name="connsiteX166" fmla="*/ 325000 h 606722"/>
                <a:gd name="connsiteY166" fmla="*/ 325000 h 606722"/>
                <a:gd name="connsiteX167" fmla="*/ 325000 h 606722"/>
                <a:gd name="connsiteY167" fmla="*/ 325000 h 606722"/>
                <a:gd name="connsiteX168" fmla="*/ 325000 h 606722"/>
                <a:gd name="connsiteY168" fmla="*/ 325000 h 606722"/>
                <a:gd name="connsiteX169" fmla="*/ 325000 h 606722"/>
                <a:gd name="connsiteY169" fmla="*/ 325000 h 606722"/>
                <a:gd name="connsiteX170" fmla="*/ 325000 h 606722"/>
                <a:gd name="connsiteY170" fmla="*/ 325000 h 606722"/>
                <a:gd name="connsiteX171" fmla="*/ 325000 h 606722"/>
                <a:gd name="connsiteY171" fmla="*/ 325000 h 606722"/>
                <a:gd name="connsiteX172" fmla="*/ 325000 h 606722"/>
                <a:gd name="connsiteY172" fmla="*/ 325000 h 606722"/>
                <a:gd name="connsiteX173" fmla="*/ 325000 h 606722"/>
                <a:gd name="connsiteY173" fmla="*/ 325000 h 606722"/>
                <a:gd name="connsiteX174" fmla="*/ 325000 h 606722"/>
                <a:gd name="connsiteY174" fmla="*/ 325000 h 606722"/>
                <a:gd name="connsiteX175" fmla="*/ 325000 h 606722"/>
                <a:gd name="connsiteY175" fmla="*/ 325000 h 606722"/>
                <a:gd name="connsiteX176" fmla="*/ 325000 h 606722"/>
                <a:gd name="connsiteY176" fmla="*/ 325000 h 606722"/>
                <a:gd name="connsiteX177" fmla="*/ 325000 h 606722"/>
                <a:gd name="connsiteY177" fmla="*/ 325000 h 606722"/>
                <a:gd name="connsiteX178" fmla="*/ 325000 h 606722"/>
                <a:gd name="connsiteY178" fmla="*/ 325000 h 606722"/>
                <a:gd name="connsiteX179" fmla="*/ 325000 h 606722"/>
                <a:gd name="connsiteY179" fmla="*/ 325000 h 606722"/>
                <a:gd name="connsiteX180" fmla="*/ 325000 h 606722"/>
                <a:gd name="connsiteY180" fmla="*/ 325000 h 606722"/>
                <a:gd name="connsiteX181" fmla="*/ 325000 h 606722"/>
                <a:gd name="connsiteY181" fmla="*/ 325000 h 606722"/>
                <a:gd name="connsiteX182" fmla="*/ 325000 h 606722"/>
                <a:gd name="connsiteY182" fmla="*/ 325000 h 606722"/>
                <a:gd name="connsiteX183" fmla="*/ 325000 h 606722"/>
                <a:gd name="connsiteY183" fmla="*/ 325000 h 606722"/>
                <a:gd name="connsiteX184" fmla="*/ 325000 h 606722"/>
                <a:gd name="connsiteY184" fmla="*/ 325000 h 606722"/>
                <a:gd name="connsiteX185" fmla="*/ 325000 h 606722"/>
                <a:gd name="connsiteY185" fmla="*/ 325000 h 606722"/>
                <a:gd name="connsiteX186" fmla="*/ 325000 h 606722"/>
                <a:gd name="connsiteY186" fmla="*/ 325000 h 606722"/>
                <a:gd name="connsiteX187" fmla="*/ 325000 h 606722"/>
                <a:gd name="connsiteY187" fmla="*/ 32500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</a:cxnLst>
              <a:rect l="l" t="t" r="r" b="b"/>
              <a:pathLst>
                <a:path w="607614" h="606761">
                  <a:moveTo>
                    <a:pt x="273408" y="546085"/>
                  </a:moveTo>
                  <a:lnTo>
                    <a:pt x="334206" y="546085"/>
                  </a:lnTo>
                  <a:lnTo>
                    <a:pt x="334206" y="566554"/>
                  </a:lnTo>
                  <a:lnTo>
                    <a:pt x="273408" y="566554"/>
                  </a:lnTo>
                  <a:close/>
                  <a:moveTo>
                    <a:pt x="273408" y="505878"/>
                  </a:moveTo>
                  <a:lnTo>
                    <a:pt x="334206" y="505878"/>
                  </a:lnTo>
                  <a:lnTo>
                    <a:pt x="334206" y="525616"/>
                  </a:lnTo>
                  <a:lnTo>
                    <a:pt x="273408" y="525616"/>
                  </a:lnTo>
                  <a:close/>
                  <a:moveTo>
                    <a:pt x="252914" y="394395"/>
                  </a:moveTo>
                  <a:lnTo>
                    <a:pt x="354700" y="394395"/>
                  </a:lnTo>
                  <a:cubicBezTo>
                    <a:pt x="394199" y="394395"/>
                    <a:pt x="425342" y="425492"/>
                    <a:pt x="425342" y="464931"/>
                  </a:cubicBezTo>
                  <a:lnTo>
                    <a:pt x="425342" y="606761"/>
                  </a:lnTo>
                  <a:lnTo>
                    <a:pt x="404833" y="606761"/>
                  </a:lnTo>
                  <a:lnTo>
                    <a:pt x="404833" y="555945"/>
                  </a:lnTo>
                  <a:lnTo>
                    <a:pt x="374449" y="555945"/>
                  </a:lnTo>
                  <a:lnTo>
                    <a:pt x="374449" y="606761"/>
                  </a:lnTo>
                  <a:lnTo>
                    <a:pt x="354700" y="606761"/>
                  </a:lnTo>
                  <a:lnTo>
                    <a:pt x="354700" y="495269"/>
                  </a:lnTo>
                  <a:lnTo>
                    <a:pt x="374449" y="495269"/>
                  </a:lnTo>
                  <a:lnTo>
                    <a:pt x="374449" y="536225"/>
                  </a:lnTo>
                  <a:lnTo>
                    <a:pt x="404833" y="536225"/>
                  </a:lnTo>
                  <a:lnTo>
                    <a:pt x="404833" y="464931"/>
                  </a:lnTo>
                  <a:cubicBezTo>
                    <a:pt x="404833" y="436868"/>
                    <a:pt x="382805" y="414873"/>
                    <a:pt x="354700" y="414873"/>
                  </a:cubicBezTo>
                  <a:lnTo>
                    <a:pt x="313682" y="414873"/>
                  </a:lnTo>
                  <a:lnTo>
                    <a:pt x="313682" y="455071"/>
                  </a:lnTo>
                  <a:lnTo>
                    <a:pt x="293932" y="455071"/>
                  </a:lnTo>
                  <a:lnTo>
                    <a:pt x="293932" y="414873"/>
                  </a:lnTo>
                  <a:lnTo>
                    <a:pt x="252914" y="414873"/>
                  </a:lnTo>
                  <a:cubicBezTo>
                    <a:pt x="224809" y="414873"/>
                    <a:pt x="202781" y="436868"/>
                    <a:pt x="202781" y="464931"/>
                  </a:cubicBezTo>
                  <a:lnTo>
                    <a:pt x="202781" y="536225"/>
                  </a:lnTo>
                  <a:lnTo>
                    <a:pt x="233165" y="536225"/>
                  </a:lnTo>
                  <a:lnTo>
                    <a:pt x="233165" y="495269"/>
                  </a:lnTo>
                  <a:lnTo>
                    <a:pt x="252914" y="495269"/>
                  </a:lnTo>
                  <a:lnTo>
                    <a:pt x="252914" y="606761"/>
                  </a:lnTo>
                  <a:lnTo>
                    <a:pt x="233165" y="606761"/>
                  </a:lnTo>
                  <a:lnTo>
                    <a:pt x="233165" y="555945"/>
                  </a:lnTo>
                  <a:lnTo>
                    <a:pt x="202781" y="555945"/>
                  </a:lnTo>
                  <a:lnTo>
                    <a:pt x="202781" y="606761"/>
                  </a:lnTo>
                  <a:lnTo>
                    <a:pt x="182272" y="606761"/>
                  </a:lnTo>
                  <a:lnTo>
                    <a:pt x="182272" y="464931"/>
                  </a:lnTo>
                  <a:cubicBezTo>
                    <a:pt x="182272" y="425492"/>
                    <a:pt x="213415" y="394395"/>
                    <a:pt x="252914" y="394395"/>
                  </a:cubicBezTo>
                  <a:close/>
                  <a:moveTo>
                    <a:pt x="263569" y="313241"/>
                  </a:moveTo>
                  <a:lnTo>
                    <a:pt x="263569" y="333716"/>
                  </a:lnTo>
                  <a:cubicBezTo>
                    <a:pt x="263569" y="351158"/>
                    <a:pt x="276475" y="364050"/>
                    <a:pt x="293937" y="364050"/>
                  </a:cubicBezTo>
                  <a:lnTo>
                    <a:pt x="313677" y="364050"/>
                  </a:lnTo>
                  <a:cubicBezTo>
                    <a:pt x="331139" y="364050"/>
                    <a:pt x="344045" y="351158"/>
                    <a:pt x="344045" y="333716"/>
                  </a:cubicBezTo>
                  <a:lnTo>
                    <a:pt x="344045" y="313241"/>
                  </a:lnTo>
                  <a:close/>
                  <a:moveTo>
                    <a:pt x="455680" y="293511"/>
                  </a:moveTo>
                  <a:lnTo>
                    <a:pt x="516478" y="293511"/>
                  </a:lnTo>
                  <a:lnTo>
                    <a:pt x="516478" y="313249"/>
                  </a:lnTo>
                  <a:lnTo>
                    <a:pt x="455680" y="313249"/>
                  </a:lnTo>
                  <a:close/>
                  <a:moveTo>
                    <a:pt x="91136" y="293511"/>
                  </a:moveTo>
                  <a:lnTo>
                    <a:pt x="151934" y="293511"/>
                  </a:lnTo>
                  <a:lnTo>
                    <a:pt x="151934" y="313249"/>
                  </a:lnTo>
                  <a:lnTo>
                    <a:pt x="91136" y="313249"/>
                  </a:lnTo>
                  <a:close/>
                  <a:moveTo>
                    <a:pt x="293937" y="273048"/>
                  </a:moveTo>
                  <a:cubicBezTo>
                    <a:pt x="280271" y="273048"/>
                    <a:pt x="269642" y="281390"/>
                    <a:pt x="264328" y="293524"/>
                  </a:cubicBezTo>
                  <a:lnTo>
                    <a:pt x="342527" y="293524"/>
                  </a:lnTo>
                  <a:cubicBezTo>
                    <a:pt x="337972" y="281390"/>
                    <a:pt x="327343" y="273048"/>
                    <a:pt x="313677" y="273048"/>
                  </a:cubicBezTo>
                  <a:close/>
                  <a:moveTo>
                    <a:pt x="455680" y="252573"/>
                  </a:moveTo>
                  <a:lnTo>
                    <a:pt x="516478" y="252573"/>
                  </a:lnTo>
                  <a:lnTo>
                    <a:pt x="516478" y="273042"/>
                  </a:lnTo>
                  <a:lnTo>
                    <a:pt x="455680" y="273042"/>
                  </a:lnTo>
                  <a:close/>
                  <a:moveTo>
                    <a:pt x="293937" y="252573"/>
                  </a:moveTo>
                  <a:lnTo>
                    <a:pt x="313677" y="252573"/>
                  </a:lnTo>
                  <a:cubicBezTo>
                    <a:pt x="342527" y="252573"/>
                    <a:pt x="364544" y="275323"/>
                    <a:pt x="364544" y="303382"/>
                  </a:cubicBezTo>
                  <a:lnTo>
                    <a:pt x="364544" y="333716"/>
                  </a:lnTo>
                  <a:cubicBezTo>
                    <a:pt x="364544" y="361775"/>
                    <a:pt x="342527" y="384525"/>
                    <a:pt x="313677" y="384525"/>
                  </a:cubicBezTo>
                  <a:lnTo>
                    <a:pt x="293937" y="384525"/>
                  </a:lnTo>
                  <a:cubicBezTo>
                    <a:pt x="265087" y="384525"/>
                    <a:pt x="243070" y="361775"/>
                    <a:pt x="243070" y="333716"/>
                  </a:cubicBezTo>
                  <a:lnTo>
                    <a:pt x="243070" y="303382"/>
                  </a:lnTo>
                  <a:cubicBezTo>
                    <a:pt x="243070" y="275323"/>
                    <a:pt x="265087" y="252573"/>
                    <a:pt x="293937" y="252573"/>
                  </a:cubicBezTo>
                  <a:close/>
                  <a:moveTo>
                    <a:pt x="91136" y="252573"/>
                  </a:moveTo>
                  <a:lnTo>
                    <a:pt x="151934" y="252573"/>
                  </a:lnTo>
                  <a:lnTo>
                    <a:pt x="151934" y="273042"/>
                  </a:lnTo>
                  <a:lnTo>
                    <a:pt x="91136" y="273042"/>
                  </a:lnTo>
                  <a:close/>
                  <a:moveTo>
                    <a:pt x="415473" y="242704"/>
                  </a:moveTo>
                  <a:lnTo>
                    <a:pt x="435211" y="242704"/>
                  </a:lnTo>
                  <a:lnTo>
                    <a:pt x="435211" y="354187"/>
                  </a:lnTo>
                  <a:lnTo>
                    <a:pt x="415473" y="354187"/>
                  </a:lnTo>
                  <a:close/>
                  <a:moveTo>
                    <a:pt x="172403" y="242704"/>
                  </a:moveTo>
                  <a:lnTo>
                    <a:pt x="192141" y="242704"/>
                  </a:lnTo>
                  <a:lnTo>
                    <a:pt x="192141" y="354187"/>
                  </a:lnTo>
                  <a:lnTo>
                    <a:pt x="172403" y="354187"/>
                  </a:lnTo>
                  <a:close/>
                  <a:moveTo>
                    <a:pt x="435186" y="141821"/>
                  </a:moveTo>
                  <a:lnTo>
                    <a:pt x="536972" y="141821"/>
                  </a:lnTo>
                  <a:cubicBezTo>
                    <a:pt x="576471" y="141821"/>
                    <a:pt x="607614" y="172918"/>
                    <a:pt x="607614" y="212357"/>
                  </a:cubicBezTo>
                  <a:lnTo>
                    <a:pt x="607614" y="354187"/>
                  </a:lnTo>
                  <a:lnTo>
                    <a:pt x="587105" y="354187"/>
                  </a:lnTo>
                  <a:lnTo>
                    <a:pt x="587105" y="303371"/>
                  </a:lnTo>
                  <a:lnTo>
                    <a:pt x="556721" y="303371"/>
                  </a:lnTo>
                  <a:lnTo>
                    <a:pt x="556721" y="354187"/>
                  </a:lnTo>
                  <a:lnTo>
                    <a:pt x="536972" y="354187"/>
                  </a:lnTo>
                  <a:lnTo>
                    <a:pt x="536972" y="242695"/>
                  </a:lnTo>
                  <a:lnTo>
                    <a:pt x="556721" y="242695"/>
                  </a:lnTo>
                  <a:lnTo>
                    <a:pt x="556721" y="282893"/>
                  </a:lnTo>
                  <a:lnTo>
                    <a:pt x="587105" y="282893"/>
                  </a:lnTo>
                  <a:lnTo>
                    <a:pt x="587105" y="212357"/>
                  </a:lnTo>
                  <a:cubicBezTo>
                    <a:pt x="587105" y="184294"/>
                    <a:pt x="565077" y="161541"/>
                    <a:pt x="536972" y="161541"/>
                  </a:cubicBezTo>
                  <a:lnTo>
                    <a:pt x="495954" y="161541"/>
                  </a:lnTo>
                  <a:lnTo>
                    <a:pt x="495954" y="202497"/>
                  </a:lnTo>
                  <a:lnTo>
                    <a:pt x="476204" y="202497"/>
                  </a:lnTo>
                  <a:lnTo>
                    <a:pt x="476204" y="161541"/>
                  </a:lnTo>
                  <a:lnTo>
                    <a:pt x="435186" y="161541"/>
                  </a:lnTo>
                  <a:cubicBezTo>
                    <a:pt x="407081" y="161541"/>
                    <a:pt x="385053" y="184294"/>
                    <a:pt x="385053" y="212357"/>
                  </a:cubicBezTo>
                  <a:lnTo>
                    <a:pt x="385053" y="252555"/>
                  </a:lnTo>
                  <a:lnTo>
                    <a:pt x="364544" y="252555"/>
                  </a:lnTo>
                  <a:lnTo>
                    <a:pt x="364544" y="212357"/>
                  </a:lnTo>
                  <a:cubicBezTo>
                    <a:pt x="364544" y="172918"/>
                    <a:pt x="395687" y="141821"/>
                    <a:pt x="435186" y="141821"/>
                  </a:cubicBezTo>
                  <a:close/>
                  <a:moveTo>
                    <a:pt x="70642" y="141821"/>
                  </a:moveTo>
                  <a:lnTo>
                    <a:pt x="172428" y="141821"/>
                  </a:lnTo>
                  <a:cubicBezTo>
                    <a:pt x="211927" y="141821"/>
                    <a:pt x="243070" y="172918"/>
                    <a:pt x="243070" y="212357"/>
                  </a:cubicBezTo>
                  <a:lnTo>
                    <a:pt x="243070" y="252555"/>
                  </a:lnTo>
                  <a:lnTo>
                    <a:pt x="222561" y="252555"/>
                  </a:lnTo>
                  <a:lnTo>
                    <a:pt x="222561" y="212357"/>
                  </a:lnTo>
                  <a:cubicBezTo>
                    <a:pt x="222561" y="184294"/>
                    <a:pt x="200533" y="161541"/>
                    <a:pt x="172428" y="161541"/>
                  </a:cubicBezTo>
                  <a:lnTo>
                    <a:pt x="131410" y="161541"/>
                  </a:lnTo>
                  <a:lnTo>
                    <a:pt x="131410" y="202497"/>
                  </a:lnTo>
                  <a:lnTo>
                    <a:pt x="111660" y="202497"/>
                  </a:lnTo>
                  <a:lnTo>
                    <a:pt x="111660" y="161541"/>
                  </a:lnTo>
                  <a:lnTo>
                    <a:pt x="70642" y="161541"/>
                  </a:lnTo>
                  <a:cubicBezTo>
                    <a:pt x="42537" y="161541"/>
                    <a:pt x="20509" y="184294"/>
                    <a:pt x="20509" y="212357"/>
                  </a:cubicBezTo>
                  <a:lnTo>
                    <a:pt x="20509" y="282893"/>
                  </a:lnTo>
                  <a:lnTo>
                    <a:pt x="50893" y="282893"/>
                  </a:lnTo>
                  <a:lnTo>
                    <a:pt x="50893" y="242695"/>
                  </a:lnTo>
                  <a:lnTo>
                    <a:pt x="70642" y="242695"/>
                  </a:lnTo>
                  <a:lnTo>
                    <a:pt x="70642" y="354187"/>
                  </a:lnTo>
                  <a:lnTo>
                    <a:pt x="50893" y="354187"/>
                  </a:lnTo>
                  <a:lnTo>
                    <a:pt x="50893" y="303371"/>
                  </a:lnTo>
                  <a:lnTo>
                    <a:pt x="20509" y="303371"/>
                  </a:lnTo>
                  <a:lnTo>
                    <a:pt x="20509" y="354187"/>
                  </a:lnTo>
                  <a:lnTo>
                    <a:pt x="0" y="354187"/>
                  </a:lnTo>
                  <a:lnTo>
                    <a:pt x="0" y="212357"/>
                  </a:lnTo>
                  <a:cubicBezTo>
                    <a:pt x="0" y="172918"/>
                    <a:pt x="31143" y="141821"/>
                    <a:pt x="70642" y="141821"/>
                  </a:cubicBezTo>
                  <a:close/>
                  <a:moveTo>
                    <a:pt x="445841" y="60680"/>
                  </a:moveTo>
                  <a:lnTo>
                    <a:pt x="445841" y="81160"/>
                  </a:lnTo>
                  <a:cubicBezTo>
                    <a:pt x="445841" y="97847"/>
                    <a:pt x="458747" y="111500"/>
                    <a:pt x="476209" y="111500"/>
                  </a:cubicBezTo>
                  <a:lnTo>
                    <a:pt x="495949" y="111500"/>
                  </a:lnTo>
                  <a:cubicBezTo>
                    <a:pt x="513411" y="111500"/>
                    <a:pt x="526317" y="97847"/>
                    <a:pt x="526317" y="81160"/>
                  </a:cubicBezTo>
                  <a:lnTo>
                    <a:pt x="526317" y="60680"/>
                  </a:lnTo>
                  <a:close/>
                  <a:moveTo>
                    <a:pt x="81297" y="60680"/>
                  </a:moveTo>
                  <a:lnTo>
                    <a:pt x="81297" y="81160"/>
                  </a:lnTo>
                  <a:cubicBezTo>
                    <a:pt x="81297" y="97847"/>
                    <a:pt x="94203" y="111500"/>
                    <a:pt x="111665" y="111500"/>
                  </a:cubicBezTo>
                  <a:lnTo>
                    <a:pt x="131405" y="111500"/>
                  </a:lnTo>
                  <a:cubicBezTo>
                    <a:pt x="148867" y="111500"/>
                    <a:pt x="161773" y="97847"/>
                    <a:pt x="161773" y="81160"/>
                  </a:cubicBezTo>
                  <a:lnTo>
                    <a:pt x="161773" y="60680"/>
                  </a:lnTo>
                  <a:close/>
                  <a:moveTo>
                    <a:pt x="556685" y="50807"/>
                  </a:moveTo>
                  <a:lnTo>
                    <a:pt x="577276" y="50807"/>
                  </a:lnTo>
                  <a:lnTo>
                    <a:pt x="577276" y="91014"/>
                  </a:lnTo>
                  <a:lnTo>
                    <a:pt x="556685" y="91014"/>
                  </a:lnTo>
                  <a:close/>
                  <a:moveTo>
                    <a:pt x="395004" y="50807"/>
                  </a:moveTo>
                  <a:lnTo>
                    <a:pt x="415473" y="50807"/>
                  </a:lnTo>
                  <a:lnTo>
                    <a:pt x="415473" y="91014"/>
                  </a:lnTo>
                  <a:lnTo>
                    <a:pt x="395004" y="91014"/>
                  </a:lnTo>
                  <a:close/>
                  <a:moveTo>
                    <a:pt x="192141" y="50807"/>
                  </a:moveTo>
                  <a:lnTo>
                    <a:pt x="212732" y="50807"/>
                  </a:lnTo>
                  <a:lnTo>
                    <a:pt x="212732" y="91014"/>
                  </a:lnTo>
                  <a:lnTo>
                    <a:pt x="192141" y="91014"/>
                  </a:lnTo>
                  <a:close/>
                  <a:moveTo>
                    <a:pt x="30338" y="50807"/>
                  </a:moveTo>
                  <a:lnTo>
                    <a:pt x="50929" y="50807"/>
                  </a:lnTo>
                  <a:lnTo>
                    <a:pt x="50929" y="91014"/>
                  </a:lnTo>
                  <a:lnTo>
                    <a:pt x="30338" y="91014"/>
                  </a:lnTo>
                  <a:close/>
                  <a:moveTo>
                    <a:pt x="476209" y="20479"/>
                  </a:moveTo>
                  <a:cubicBezTo>
                    <a:pt x="462543" y="20479"/>
                    <a:pt x="451914" y="28064"/>
                    <a:pt x="446600" y="40201"/>
                  </a:cubicBezTo>
                  <a:lnTo>
                    <a:pt x="524799" y="40201"/>
                  </a:lnTo>
                  <a:cubicBezTo>
                    <a:pt x="520244" y="28064"/>
                    <a:pt x="509615" y="20479"/>
                    <a:pt x="495949" y="20479"/>
                  </a:cubicBezTo>
                  <a:close/>
                  <a:moveTo>
                    <a:pt x="111665" y="20479"/>
                  </a:moveTo>
                  <a:cubicBezTo>
                    <a:pt x="97999" y="20479"/>
                    <a:pt x="87370" y="28064"/>
                    <a:pt x="82056" y="40201"/>
                  </a:cubicBezTo>
                  <a:lnTo>
                    <a:pt x="160255" y="40201"/>
                  </a:lnTo>
                  <a:cubicBezTo>
                    <a:pt x="155700" y="28064"/>
                    <a:pt x="145071" y="20479"/>
                    <a:pt x="131405" y="20479"/>
                  </a:cubicBezTo>
                  <a:close/>
                  <a:moveTo>
                    <a:pt x="476209" y="0"/>
                  </a:moveTo>
                  <a:lnTo>
                    <a:pt x="495949" y="0"/>
                  </a:lnTo>
                  <a:cubicBezTo>
                    <a:pt x="524799" y="0"/>
                    <a:pt x="546816" y="21996"/>
                    <a:pt x="546816" y="50820"/>
                  </a:cubicBezTo>
                  <a:lnTo>
                    <a:pt x="546816" y="81160"/>
                  </a:lnTo>
                  <a:cubicBezTo>
                    <a:pt x="546816" y="109225"/>
                    <a:pt x="524799" y="131221"/>
                    <a:pt x="495949" y="131221"/>
                  </a:cubicBezTo>
                  <a:lnTo>
                    <a:pt x="476209" y="131221"/>
                  </a:lnTo>
                  <a:cubicBezTo>
                    <a:pt x="447359" y="131221"/>
                    <a:pt x="425342" y="109225"/>
                    <a:pt x="425342" y="81160"/>
                  </a:cubicBezTo>
                  <a:lnTo>
                    <a:pt x="425342" y="50820"/>
                  </a:lnTo>
                  <a:cubicBezTo>
                    <a:pt x="425342" y="21996"/>
                    <a:pt x="447359" y="0"/>
                    <a:pt x="476209" y="0"/>
                  </a:cubicBezTo>
                  <a:close/>
                  <a:moveTo>
                    <a:pt x="111665" y="0"/>
                  </a:moveTo>
                  <a:lnTo>
                    <a:pt x="131405" y="0"/>
                  </a:lnTo>
                  <a:cubicBezTo>
                    <a:pt x="160255" y="0"/>
                    <a:pt x="182272" y="21996"/>
                    <a:pt x="182272" y="50820"/>
                  </a:cubicBezTo>
                  <a:lnTo>
                    <a:pt x="182272" y="81160"/>
                  </a:lnTo>
                  <a:cubicBezTo>
                    <a:pt x="182272" y="109225"/>
                    <a:pt x="160255" y="131221"/>
                    <a:pt x="131405" y="131221"/>
                  </a:cubicBezTo>
                  <a:lnTo>
                    <a:pt x="111665" y="131221"/>
                  </a:lnTo>
                  <a:cubicBezTo>
                    <a:pt x="82815" y="131221"/>
                    <a:pt x="60798" y="109225"/>
                    <a:pt x="60798" y="81160"/>
                  </a:cubicBezTo>
                  <a:lnTo>
                    <a:pt x="60798" y="50820"/>
                  </a:lnTo>
                  <a:cubicBezTo>
                    <a:pt x="60798" y="21996"/>
                    <a:pt x="82815" y="0"/>
                    <a:pt x="111665" y="0"/>
                  </a:cubicBezTo>
                  <a:close/>
                </a:path>
              </a:pathLst>
            </a:custGeom>
            <a:solidFill>
              <a:srgbClr val="575756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srgbClr val="1D1D1A"/>
                </a:solidFill>
                <a:latin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</p:grpSp>
      <p:grpSp>
        <p:nvGrpSpPr>
          <p:cNvPr id="10" name="组合 9">
            <a:extLst>
              <a:ext uri="{FF2B5EF4-FFF2-40B4-BE49-F238E27FC236}">
                <a16:creationId xmlns:a16="http://schemas.microsoft.com/office/drawing/2014/main" id="{7E194D2C-D9BA-4E1F-B139-B51B01695CFB}"/>
              </a:ext>
            </a:extLst>
          </p:cNvPr>
          <p:cNvGrpSpPr>
            <a:grpSpLocks/>
          </p:cNvGrpSpPr>
          <p:nvPr/>
        </p:nvGrpSpPr>
        <p:grpSpPr>
          <a:xfrm>
            <a:off x="6186916" y="3604020"/>
            <a:ext cx="2536976" cy="2428480"/>
            <a:chOff x="6488977" y="3604020"/>
            <a:chExt cx="1980001" cy="2428480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6D79FC7D-78CB-41D4-AFD2-FCD403A983EE}"/>
                </a:ext>
              </a:extLst>
            </p:cNvPr>
            <p:cNvSpPr/>
            <p:nvPr/>
          </p:nvSpPr>
          <p:spPr>
            <a:xfrm>
              <a:off x="6488978" y="3964020"/>
              <a:ext cx="1980000" cy="2068480"/>
            </a:xfrm>
            <a:prstGeom prst="rect">
              <a:avLst/>
            </a:prstGeom>
            <a:gradFill>
              <a:gsLst>
                <a:gs pos="100000">
                  <a:schemeClr val="tx2">
                    <a:lumMod val="95000"/>
                    <a:alpha val="0"/>
                  </a:schemeClr>
                </a:gs>
                <a:gs pos="33000">
                  <a:schemeClr val="tx2">
                    <a:lumMod val="95000"/>
                  </a:schemeClr>
                </a:gs>
              </a:gsLst>
              <a:lin ang="5400000" scaled="0"/>
            </a:gradFill>
            <a:ln w="6350">
              <a:gradFill>
                <a:gsLst>
                  <a:gs pos="0">
                    <a:schemeClr val="bg1">
                      <a:lumMod val="40000"/>
                      <a:lumOff val="60000"/>
                    </a:schemeClr>
                  </a:gs>
                  <a:gs pos="100000">
                    <a:schemeClr val="bg1">
                      <a:lumMod val="40000"/>
                      <a:lumOff val="60000"/>
                      <a:alpha val="0"/>
                    </a:schemeClr>
                  </a:gs>
                </a:gsLst>
                <a:lin ang="54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defTabSz="914477">
                <a:lnSpc>
                  <a:spcPct val="120000"/>
                </a:lnSpc>
              </a:pPr>
              <a:endParaRPr kumimoji="1" lang="zh-CN" altLang="en-US" sz="1200" dirty="0">
                <a:solidFill>
                  <a:srgbClr val="FFFFFF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18" name="圆角矩形 17"/>
            <p:cNvSpPr/>
            <p:nvPr/>
          </p:nvSpPr>
          <p:spPr>
            <a:xfrm>
              <a:off x="6488977" y="3604020"/>
              <a:ext cx="1980000" cy="360000"/>
            </a:xfrm>
            <a:prstGeom prst="rect">
              <a:avLst/>
            </a:prstGeom>
            <a:gradFill flip="none" rotWithShape="1">
              <a:gsLst>
                <a:gs pos="38000">
                  <a:schemeClr val="tx2"/>
                </a:gs>
                <a:gs pos="100000">
                  <a:schemeClr val="tx2">
                    <a:lumMod val="95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6350" cap="flat" cmpd="sng" algn="ctr">
              <a:gradFill flip="none" rotWithShape="1">
                <a:gsLst>
                  <a:gs pos="0">
                    <a:srgbClr val="666666">
                      <a:lumMod val="60000"/>
                      <a:lumOff val="40000"/>
                      <a:alpha val="80000"/>
                    </a:srgbClr>
                  </a:gs>
                  <a:gs pos="100000">
                    <a:srgbClr val="666666">
                      <a:lumMod val="60000"/>
                      <a:lumOff val="40000"/>
                      <a:alpha val="40000"/>
                    </a:srgbClr>
                  </a:gs>
                </a:gsLst>
                <a:lin ang="0" scaled="0"/>
                <a:tileRect/>
              </a:gra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square" lIns="0" tIns="0" rIns="0" bIns="0" anchor="ctr" anchorCtr="1"/>
            <a:lstStyle/>
            <a:p>
              <a:r>
                <a:rPr lang="zh-CN" altLang="en-US" sz="1600" b="1" dirty="0">
                  <a:solidFill>
                    <a:srgbClr val="C00000"/>
                  </a:solidFill>
                  <a:latin typeface="微软雅黑" panose="020B0503020204020204" pitchFamily="34" charset="-122"/>
                  <a:sym typeface="微软雅黑" panose="020B0503020204020204" pitchFamily="34" charset="-122"/>
                </a:rPr>
                <a:t>个性化体验</a:t>
              </a:r>
            </a:p>
          </p:txBody>
        </p:sp>
      </p:grpSp>
      <p:sp>
        <p:nvSpPr>
          <p:cNvPr id="27" name="矩形 151">
            <a:extLst>
              <a:ext uri="{FF2B5EF4-FFF2-40B4-BE49-F238E27FC236}">
                <a16:creationId xmlns:a16="http://schemas.microsoft.com/office/drawing/2014/main" id="{9E4D71E5-B2E6-1C4F-A2C3-7AB77006BBCA}"/>
              </a:ext>
            </a:extLst>
          </p:cNvPr>
          <p:cNvSpPr/>
          <p:nvPr/>
        </p:nvSpPr>
        <p:spPr>
          <a:xfrm>
            <a:off x="6374869" y="4120915"/>
            <a:ext cx="2238754" cy="120545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 defTabSz="914400">
              <a:lnSpc>
                <a:spcPts val="14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200" kern="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anose="020B0604020202020204" pitchFamily="34" charset="0"/>
                <a:sym typeface="微软雅黑" panose="020B0503020204020204" pitchFamily="34" charset="-122"/>
              </a:rPr>
              <a:t>全场景（人、车、家、办公）</a:t>
            </a:r>
            <a:endParaRPr lang="en-US" altLang="zh-CN" sz="1200" kern="0" dirty="0">
              <a:solidFill>
                <a:srgbClr val="DDDDDD">
                  <a:lumMod val="10000"/>
                </a:srgbClr>
              </a:solidFill>
              <a:latin typeface="微软雅黑" panose="020B0503020204020204" pitchFamily="34" charset="-122"/>
              <a:cs typeface="Arial" panose="020B0604020202020204" pitchFamily="34" charset="0"/>
              <a:sym typeface="微软雅黑" panose="020B0503020204020204" pitchFamily="34" charset="-122"/>
            </a:endParaRPr>
          </a:p>
          <a:p>
            <a:pPr marL="171450" indent="-171450" defTabSz="914400">
              <a:lnSpc>
                <a:spcPts val="14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200" kern="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anose="020B0604020202020204" pitchFamily="34" charset="0"/>
                <a:sym typeface="微软雅黑" panose="020B0503020204020204" pitchFamily="34" charset="-122"/>
              </a:rPr>
              <a:t>智能体验</a:t>
            </a:r>
          </a:p>
          <a:p>
            <a:pPr marL="171450" indent="-171450" defTabSz="914400">
              <a:lnSpc>
                <a:spcPts val="14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200" kern="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anose="020B0604020202020204" pitchFamily="34" charset="0"/>
                <a:sym typeface="微软雅黑" panose="020B0503020204020204" pitchFamily="34" charset="-122"/>
              </a:rPr>
              <a:t>芯片</a:t>
            </a:r>
            <a:r>
              <a:rPr lang="en-US" altLang="zh-CN" sz="1200" kern="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anose="020B0604020202020204" pitchFamily="34" charset="0"/>
                <a:sym typeface="微软雅黑" panose="020B0503020204020204" pitchFamily="34" charset="-122"/>
              </a:rPr>
              <a:t>-</a:t>
            </a:r>
            <a:r>
              <a:rPr lang="zh-CN" altLang="en-US" sz="1200" kern="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anose="020B0604020202020204" pitchFamily="34" charset="0"/>
                <a:sym typeface="微软雅黑" panose="020B0503020204020204" pitchFamily="34" charset="-122"/>
              </a:rPr>
              <a:t>端</a:t>
            </a:r>
            <a:r>
              <a:rPr lang="en-US" altLang="zh-CN" sz="1200" kern="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anose="020B0604020202020204" pitchFamily="34" charset="0"/>
                <a:sym typeface="微软雅黑" panose="020B0503020204020204" pitchFamily="34" charset="-122"/>
              </a:rPr>
              <a:t>-</a:t>
            </a:r>
            <a:r>
              <a:rPr lang="zh-CN" altLang="en-US" sz="1200" kern="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anose="020B0604020202020204" pitchFamily="34" charset="0"/>
                <a:sym typeface="微软雅黑" panose="020B0503020204020204" pitchFamily="34" charset="-122"/>
              </a:rPr>
              <a:t>云协同</a:t>
            </a:r>
          </a:p>
          <a:p>
            <a:pPr marL="171450" indent="-171450" defTabSz="914400">
              <a:lnSpc>
                <a:spcPts val="14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200" kern="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anose="020B0604020202020204" pitchFamily="34" charset="0"/>
                <a:sym typeface="微软雅黑" panose="020B0503020204020204" pitchFamily="34" charset="-122"/>
              </a:rPr>
              <a:t>自然交互</a:t>
            </a:r>
          </a:p>
          <a:p>
            <a:pPr marL="171450" indent="-171450" defTabSz="914400">
              <a:lnSpc>
                <a:spcPts val="14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200" kern="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anose="020B0604020202020204" pitchFamily="34" charset="0"/>
                <a:sym typeface="微软雅黑" panose="020B0503020204020204" pitchFamily="34" charset="-122"/>
              </a:rPr>
              <a:t>芯、端、云多重安全保护</a:t>
            </a:r>
          </a:p>
        </p:txBody>
      </p:sp>
      <p:sp>
        <p:nvSpPr>
          <p:cNvPr id="22" name="副标题 1">
            <a:extLst>
              <a:ext uri="{FF2B5EF4-FFF2-40B4-BE49-F238E27FC236}">
                <a16:creationId xmlns:a16="http://schemas.microsoft.com/office/drawing/2014/main" id="{D23C1492-6253-41F1-B4FD-EB776738F061}"/>
              </a:ext>
            </a:extLst>
          </p:cNvPr>
          <p:cNvSpPr txBox="1">
            <a:spLocks/>
          </p:cNvSpPr>
          <p:nvPr/>
        </p:nvSpPr>
        <p:spPr>
          <a:xfrm>
            <a:off x="723900" y="447675"/>
            <a:ext cx="107315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96950" indent="-296950" algn="l" defTabSz="1187798" rtl="0" eaLnBrk="1" latinLnBrk="0" hangingPunct="1">
              <a:lnSpc>
                <a:spcPct val="90000"/>
              </a:lnSpc>
              <a:spcBef>
                <a:spcPts val="1299"/>
              </a:spcBef>
              <a:buFont typeface="Arial" panose="020B0604020202020204" pitchFamily="34" charset="0"/>
              <a:buChar char="•"/>
              <a:defRPr sz="36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90849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84748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5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78648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72547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6447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60346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54245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48144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zh-CN" altLang="en-US" sz="2800" dirty="0">
                <a:solidFill>
                  <a:srgbClr val="1D1D1A"/>
                </a:solidFill>
                <a:latin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华为的价值主张</a:t>
            </a:r>
          </a:p>
        </p:txBody>
      </p:sp>
    </p:spTree>
    <p:extLst>
      <p:ext uri="{BB962C8B-B14F-4D97-AF65-F5344CB8AC3E}">
        <p14:creationId xmlns:p14="http://schemas.microsoft.com/office/powerpoint/2010/main" val="9909932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圆角矩形 60"/>
          <p:cNvSpPr/>
          <p:nvPr/>
        </p:nvSpPr>
        <p:spPr>
          <a:xfrm>
            <a:off x="9201350" y="3679459"/>
            <a:ext cx="2254515" cy="2008360"/>
          </a:xfrm>
          <a:prstGeom prst="roundRect">
            <a:avLst>
              <a:gd name="adj" fmla="val 0"/>
            </a:avLst>
          </a:prstGeom>
          <a:gradFill flip="none" rotWithShape="1">
            <a:gsLst>
              <a:gs pos="46000">
                <a:srgbClr val="C7000B">
                  <a:alpha val="0"/>
                </a:srgbClr>
              </a:gs>
              <a:gs pos="100000">
                <a:srgbClr val="C7000B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 w="12700" cap="flat" cmpd="sng" algn="ctr">
            <a:gradFill flip="none" rotWithShape="1">
              <a:gsLst>
                <a:gs pos="50000">
                  <a:srgbClr val="C7000B">
                    <a:alpha val="5000"/>
                  </a:srgbClr>
                </a:gs>
                <a:gs pos="0">
                  <a:srgbClr val="C7000B">
                    <a:alpha val="80000"/>
                  </a:srgbClr>
                </a:gs>
                <a:gs pos="100000">
                  <a:srgbClr val="C7000B">
                    <a:alpha val="80000"/>
                  </a:srgbClr>
                </a:gs>
              </a:gsLst>
              <a:lin ang="0" scaled="0"/>
              <a:tileRect/>
            </a:gra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defTabSz="914471"/>
            <a:endParaRPr lang="zh-CN" altLang="en-US" sz="1200" kern="0" dirty="0">
              <a:solidFill>
                <a:schemeClr val="bg2">
                  <a:lumMod val="10000"/>
                </a:schemeClr>
              </a:solidFill>
              <a:latin typeface="Arial"/>
              <a:ea typeface="Microsoft YaHei"/>
              <a:sym typeface="微软雅黑" panose="020B0503020204020204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1077399" y="2732704"/>
            <a:ext cx="10378465" cy="938458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zh-CN" altLang="en-US" sz="1799" kern="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931507" y="1317537"/>
            <a:ext cx="8681934" cy="1844636"/>
          </a:xfrm>
          <a:prstGeom prst="rect">
            <a:avLst/>
          </a:prstGeom>
          <a:noFill/>
        </p:spPr>
        <p:txBody>
          <a:bodyPr spcFirstLastPara="1" wrap="square" lIns="0" tIns="0" rIns="0" bIns="0" numCol="1" rtlCol="0">
            <a:prstTxWarp prst="textArchUp">
              <a:avLst>
                <a:gd name="adj" fmla="val 10444117"/>
              </a:avLst>
            </a:prstTxWarp>
            <a:spAutoFit/>
          </a:bodyPr>
          <a:lstStyle/>
          <a:p>
            <a:pPr algn="ctr" defTabSz="914400"/>
            <a:r>
              <a:rPr kumimoji="1" lang="zh-CN" altLang="en-US" dirty="0">
                <a:solidFill>
                  <a:schemeClr val="bg2">
                    <a:lumMod val="1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把数字世界带入每个人、每个家庭、每个组织，构建万物互联的智能世界</a:t>
            </a:r>
          </a:p>
        </p:txBody>
      </p:sp>
      <p:sp>
        <p:nvSpPr>
          <p:cNvPr id="5" name="object 11"/>
          <p:cNvSpPr/>
          <p:nvPr/>
        </p:nvSpPr>
        <p:spPr>
          <a:xfrm>
            <a:off x="1069230" y="1670202"/>
            <a:ext cx="10378465" cy="1062502"/>
          </a:xfrm>
          <a:custGeom>
            <a:avLst/>
            <a:gdLst/>
            <a:ahLst/>
            <a:cxnLst/>
            <a:rect l="l" t="t" r="r" b="b"/>
            <a:pathLst>
              <a:path w="18062575" h="1482089">
                <a:moveTo>
                  <a:pt x="0" y="1481697"/>
                </a:moveTo>
                <a:lnTo>
                  <a:pt x="73452" y="1455822"/>
                </a:lnTo>
                <a:lnTo>
                  <a:pt x="200363" y="1411931"/>
                </a:lnTo>
                <a:lnTo>
                  <a:pt x="327864" y="1368649"/>
                </a:lnTo>
                <a:lnTo>
                  <a:pt x="455951" y="1325977"/>
                </a:lnTo>
                <a:lnTo>
                  <a:pt x="584618" y="1283920"/>
                </a:lnTo>
                <a:lnTo>
                  <a:pt x="713862" y="1242480"/>
                </a:lnTo>
                <a:lnTo>
                  <a:pt x="843676" y="1201661"/>
                </a:lnTo>
                <a:lnTo>
                  <a:pt x="974058" y="1161465"/>
                </a:lnTo>
                <a:lnTo>
                  <a:pt x="1105000" y="1121896"/>
                </a:lnTo>
                <a:lnTo>
                  <a:pt x="1236500" y="1082956"/>
                </a:lnTo>
                <a:lnTo>
                  <a:pt x="1368552" y="1044650"/>
                </a:lnTo>
                <a:lnTo>
                  <a:pt x="1501150" y="1006979"/>
                </a:lnTo>
                <a:lnTo>
                  <a:pt x="1634292" y="969946"/>
                </a:lnTo>
                <a:lnTo>
                  <a:pt x="1767970" y="933556"/>
                </a:lnTo>
                <a:lnTo>
                  <a:pt x="1902182" y="897811"/>
                </a:lnTo>
                <a:lnTo>
                  <a:pt x="2036922" y="862713"/>
                </a:lnTo>
                <a:lnTo>
                  <a:pt x="2172185" y="828267"/>
                </a:lnTo>
                <a:lnTo>
                  <a:pt x="2307966" y="794475"/>
                </a:lnTo>
                <a:lnTo>
                  <a:pt x="2444261" y="761340"/>
                </a:lnTo>
                <a:lnTo>
                  <a:pt x="2581064" y="728865"/>
                </a:lnTo>
                <a:lnTo>
                  <a:pt x="2718372" y="697053"/>
                </a:lnTo>
                <a:lnTo>
                  <a:pt x="2856178" y="665908"/>
                </a:lnTo>
                <a:lnTo>
                  <a:pt x="2994480" y="635432"/>
                </a:lnTo>
                <a:lnTo>
                  <a:pt x="3133270" y="605629"/>
                </a:lnTo>
                <a:lnTo>
                  <a:pt x="3272546" y="576501"/>
                </a:lnTo>
                <a:lnTo>
                  <a:pt x="3412301" y="548051"/>
                </a:lnTo>
                <a:lnTo>
                  <a:pt x="3552532" y="520284"/>
                </a:lnTo>
                <a:lnTo>
                  <a:pt x="3693233" y="493201"/>
                </a:lnTo>
                <a:lnTo>
                  <a:pt x="3834400" y="466805"/>
                </a:lnTo>
                <a:lnTo>
                  <a:pt x="3976027" y="441101"/>
                </a:lnTo>
                <a:lnTo>
                  <a:pt x="4118110" y="416090"/>
                </a:lnTo>
                <a:lnTo>
                  <a:pt x="4260645" y="391776"/>
                </a:lnTo>
                <a:lnTo>
                  <a:pt x="4403626" y="368163"/>
                </a:lnTo>
                <a:lnTo>
                  <a:pt x="4547048" y="345252"/>
                </a:lnTo>
                <a:lnTo>
                  <a:pt x="4690907" y="323047"/>
                </a:lnTo>
                <a:lnTo>
                  <a:pt x="4835198" y="301552"/>
                </a:lnTo>
                <a:lnTo>
                  <a:pt x="4979916" y="280768"/>
                </a:lnTo>
                <a:lnTo>
                  <a:pt x="5125057" y="260700"/>
                </a:lnTo>
                <a:lnTo>
                  <a:pt x="5270615" y="241350"/>
                </a:lnTo>
                <a:lnTo>
                  <a:pt x="5416586" y="222722"/>
                </a:lnTo>
                <a:lnTo>
                  <a:pt x="5562965" y="204818"/>
                </a:lnTo>
                <a:lnTo>
                  <a:pt x="5709747" y="187642"/>
                </a:lnTo>
                <a:lnTo>
                  <a:pt x="5856927" y="171196"/>
                </a:lnTo>
                <a:lnTo>
                  <a:pt x="6004501" y="155483"/>
                </a:lnTo>
                <a:lnTo>
                  <a:pt x="6152463" y="140507"/>
                </a:lnTo>
                <a:lnTo>
                  <a:pt x="6300810" y="126271"/>
                </a:lnTo>
                <a:lnTo>
                  <a:pt x="6449535" y="112778"/>
                </a:lnTo>
                <a:lnTo>
                  <a:pt x="6598635" y="100031"/>
                </a:lnTo>
                <a:lnTo>
                  <a:pt x="6748105" y="88032"/>
                </a:lnTo>
                <a:lnTo>
                  <a:pt x="6897939" y="76786"/>
                </a:lnTo>
                <a:lnTo>
                  <a:pt x="7048133" y="66294"/>
                </a:lnTo>
                <a:lnTo>
                  <a:pt x="7198682" y="56561"/>
                </a:lnTo>
                <a:lnTo>
                  <a:pt x="7349582" y="47588"/>
                </a:lnTo>
                <a:lnTo>
                  <a:pt x="7500827" y="39380"/>
                </a:lnTo>
                <a:lnTo>
                  <a:pt x="7652413" y="31939"/>
                </a:lnTo>
                <a:lnTo>
                  <a:pt x="7804334" y="25268"/>
                </a:lnTo>
                <a:lnTo>
                  <a:pt x="7956587" y="19371"/>
                </a:lnTo>
                <a:lnTo>
                  <a:pt x="8109166" y="14250"/>
                </a:lnTo>
                <a:lnTo>
                  <a:pt x="8262066" y="9908"/>
                </a:lnTo>
                <a:lnTo>
                  <a:pt x="8415284" y="6349"/>
                </a:lnTo>
                <a:lnTo>
                  <a:pt x="8568813" y="3576"/>
                </a:lnTo>
                <a:lnTo>
                  <a:pt x="8722649" y="1591"/>
                </a:lnTo>
                <a:lnTo>
                  <a:pt x="8876788" y="398"/>
                </a:lnTo>
                <a:lnTo>
                  <a:pt x="9031224" y="0"/>
                </a:lnTo>
                <a:lnTo>
                  <a:pt x="9185659" y="398"/>
                </a:lnTo>
                <a:lnTo>
                  <a:pt x="9339798" y="1591"/>
                </a:lnTo>
                <a:lnTo>
                  <a:pt x="9493634" y="3576"/>
                </a:lnTo>
                <a:lnTo>
                  <a:pt x="9647163" y="6349"/>
                </a:lnTo>
                <a:lnTo>
                  <a:pt x="9800381" y="9908"/>
                </a:lnTo>
                <a:lnTo>
                  <a:pt x="9953281" y="14250"/>
                </a:lnTo>
                <a:lnTo>
                  <a:pt x="10105860" y="19371"/>
                </a:lnTo>
                <a:lnTo>
                  <a:pt x="10258113" y="25268"/>
                </a:lnTo>
                <a:lnTo>
                  <a:pt x="10410034" y="31939"/>
                </a:lnTo>
                <a:lnTo>
                  <a:pt x="10561620" y="39380"/>
                </a:lnTo>
                <a:lnTo>
                  <a:pt x="10712865" y="47588"/>
                </a:lnTo>
                <a:lnTo>
                  <a:pt x="10863765" y="56561"/>
                </a:lnTo>
                <a:lnTo>
                  <a:pt x="11014314" y="66294"/>
                </a:lnTo>
                <a:lnTo>
                  <a:pt x="11164508" y="76786"/>
                </a:lnTo>
                <a:lnTo>
                  <a:pt x="11314342" y="88032"/>
                </a:lnTo>
                <a:lnTo>
                  <a:pt x="11463812" y="100031"/>
                </a:lnTo>
                <a:lnTo>
                  <a:pt x="11612912" y="112778"/>
                </a:lnTo>
                <a:lnTo>
                  <a:pt x="11761637" y="126271"/>
                </a:lnTo>
                <a:lnTo>
                  <a:pt x="11909984" y="140507"/>
                </a:lnTo>
                <a:lnTo>
                  <a:pt x="12057946" y="155483"/>
                </a:lnTo>
                <a:lnTo>
                  <a:pt x="12205520" y="171196"/>
                </a:lnTo>
                <a:lnTo>
                  <a:pt x="12352700" y="187642"/>
                </a:lnTo>
                <a:lnTo>
                  <a:pt x="12499482" y="204818"/>
                </a:lnTo>
                <a:lnTo>
                  <a:pt x="12645861" y="222722"/>
                </a:lnTo>
                <a:lnTo>
                  <a:pt x="12791832" y="241350"/>
                </a:lnTo>
                <a:lnTo>
                  <a:pt x="12937390" y="260700"/>
                </a:lnTo>
                <a:lnTo>
                  <a:pt x="13082531" y="280768"/>
                </a:lnTo>
                <a:lnTo>
                  <a:pt x="13227249" y="301552"/>
                </a:lnTo>
                <a:lnTo>
                  <a:pt x="13371540" y="323047"/>
                </a:lnTo>
                <a:lnTo>
                  <a:pt x="13515399" y="345252"/>
                </a:lnTo>
                <a:lnTo>
                  <a:pt x="13658821" y="368163"/>
                </a:lnTo>
                <a:lnTo>
                  <a:pt x="13801802" y="391776"/>
                </a:lnTo>
                <a:lnTo>
                  <a:pt x="13944337" y="416090"/>
                </a:lnTo>
                <a:lnTo>
                  <a:pt x="14086420" y="441101"/>
                </a:lnTo>
                <a:lnTo>
                  <a:pt x="14228047" y="466805"/>
                </a:lnTo>
                <a:lnTo>
                  <a:pt x="14369214" y="493201"/>
                </a:lnTo>
                <a:lnTo>
                  <a:pt x="14509915" y="520284"/>
                </a:lnTo>
                <a:lnTo>
                  <a:pt x="14650146" y="548051"/>
                </a:lnTo>
                <a:lnTo>
                  <a:pt x="14789901" y="576501"/>
                </a:lnTo>
                <a:lnTo>
                  <a:pt x="14929177" y="605629"/>
                </a:lnTo>
                <a:lnTo>
                  <a:pt x="15067967" y="635432"/>
                </a:lnTo>
                <a:lnTo>
                  <a:pt x="15206269" y="665908"/>
                </a:lnTo>
                <a:lnTo>
                  <a:pt x="15344075" y="697053"/>
                </a:lnTo>
                <a:lnTo>
                  <a:pt x="15481383" y="728865"/>
                </a:lnTo>
                <a:lnTo>
                  <a:pt x="15618186" y="761340"/>
                </a:lnTo>
                <a:lnTo>
                  <a:pt x="15754481" y="794475"/>
                </a:lnTo>
                <a:lnTo>
                  <a:pt x="15890262" y="828267"/>
                </a:lnTo>
                <a:lnTo>
                  <a:pt x="16025525" y="862713"/>
                </a:lnTo>
                <a:lnTo>
                  <a:pt x="16160265" y="897811"/>
                </a:lnTo>
                <a:lnTo>
                  <a:pt x="16294477" y="933556"/>
                </a:lnTo>
                <a:lnTo>
                  <a:pt x="16428155" y="969946"/>
                </a:lnTo>
                <a:lnTo>
                  <a:pt x="16561297" y="1006979"/>
                </a:lnTo>
                <a:lnTo>
                  <a:pt x="16693895" y="1044650"/>
                </a:lnTo>
                <a:lnTo>
                  <a:pt x="16825947" y="1082956"/>
                </a:lnTo>
                <a:lnTo>
                  <a:pt x="16957447" y="1121896"/>
                </a:lnTo>
                <a:lnTo>
                  <a:pt x="17088389" y="1161465"/>
                </a:lnTo>
                <a:lnTo>
                  <a:pt x="17218771" y="1201661"/>
                </a:lnTo>
                <a:lnTo>
                  <a:pt x="17348585" y="1242480"/>
                </a:lnTo>
                <a:lnTo>
                  <a:pt x="17477829" y="1283920"/>
                </a:lnTo>
                <a:lnTo>
                  <a:pt x="17606496" y="1325977"/>
                </a:lnTo>
                <a:lnTo>
                  <a:pt x="17734583" y="1368649"/>
                </a:lnTo>
                <a:lnTo>
                  <a:pt x="17862084" y="1411931"/>
                </a:lnTo>
                <a:lnTo>
                  <a:pt x="17988995" y="1455822"/>
                </a:lnTo>
                <a:lnTo>
                  <a:pt x="18062446" y="1481697"/>
                </a:lnTo>
              </a:path>
            </a:pathLst>
          </a:custGeom>
          <a:solidFill>
            <a:srgbClr val="FFFFFF">
              <a:lumMod val="95000"/>
              <a:alpha val="70000"/>
            </a:srgbClr>
          </a:solidFill>
          <a:ln w="19050">
            <a:solidFill>
              <a:srgbClr val="C8102E"/>
            </a:solidFill>
          </a:ln>
        </p:spPr>
        <p:txBody>
          <a:bodyPr wrap="square" lIns="0" tIns="0" rIns="0" bIns="0" rtlCol="0"/>
          <a:lstStyle/>
          <a:p>
            <a:pPr defTabSz="616973">
              <a:defRPr/>
            </a:pPr>
            <a:endParaRPr sz="1215" kern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14" name="圆角矩形 13"/>
          <p:cNvSpPr/>
          <p:nvPr/>
        </p:nvSpPr>
        <p:spPr>
          <a:xfrm>
            <a:off x="2320144" y="2479249"/>
            <a:ext cx="2211518" cy="625793"/>
          </a:xfrm>
          <a:prstGeom prst="roundRect">
            <a:avLst>
              <a:gd name="adj" fmla="val 0"/>
            </a:avLst>
          </a:prstGeom>
          <a:gradFill flip="none" rotWithShape="1">
            <a:gsLst>
              <a:gs pos="38000">
                <a:srgbClr val="666666">
                  <a:lumMod val="60000"/>
                  <a:lumOff val="40000"/>
                  <a:alpha val="2000"/>
                </a:srgbClr>
              </a:gs>
              <a:gs pos="100000">
                <a:srgbClr val="666666">
                  <a:lumMod val="60000"/>
                  <a:lumOff val="40000"/>
                  <a:alpha val="15000"/>
                </a:srgbClr>
              </a:gs>
            </a:gsLst>
            <a:path path="shape">
              <a:fillToRect l="50000" t="50000" r="50000" b="50000"/>
            </a:path>
            <a:tileRect/>
          </a:gradFill>
          <a:ln w="6350" cap="flat" cmpd="sng" algn="ctr">
            <a:gradFill flip="none" rotWithShape="1">
              <a:gsLst>
                <a:gs pos="0">
                  <a:srgbClr val="666666">
                    <a:lumMod val="60000"/>
                    <a:lumOff val="40000"/>
                    <a:alpha val="80000"/>
                  </a:srgbClr>
                </a:gs>
                <a:gs pos="100000">
                  <a:srgbClr val="666666">
                    <a:lumMod val="60000"/>
                    <a:lumOff val="40000"/>
                    <a:alpha val="40000"/>
                  </a:srgbClr>
                </a:gs>
              </a:gsLst>
              <a:lin ang="0" scaled="0"/>
              <a:tileRect/>
            </a:gra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0" tIns="0" rIns="0" bIns="0" anchor="ctr" anchorCtr="1"/>
          <a:lstStyle/>
          <a:p>
            <a:pPr algn="ctr" defTabSz="914355"/>
            <a:endParaRPr lang="en-US" altLang="zh-CN" sz="1200" b="1" kern="0" spc="50" dirty="0">
              <a:solidFill>
                <a:schemeClr val="bg2">
                  <a:lumMod val="10000"/>
                </a:schemeClr>
              </a:solidFill>
              <a:latin typeface="Arial" pitchFamily="34" charset="0"/>
              <a:ea typeface="微软雅黑" pitchFamily="34" charset="-122"/>
              <a:cs typeface="Arial" pitchFamily="34" charset="0"/>
              <a:sym typeface="微软雅黑" panose="020B0503020204020204" pitchFamily="34" charset="-122"/>
            </a:endParaRPr>
          </a:p>
        </p:txBody>
      </p:sp>
      <p:sp>
        <p:nvSpPr>
          <p:cNvPr id="4" name="圆角矩形 3"/>
          <p:cNvSpPr/>
          <p:nvPr/>
        </p:nvSpPr>
        <p:spPr>
          <a:xfrm>
            <a:off x="1080808" y="3679459"/>
            <a:ext cx="7965187" cy="2008360"/>
          </a:xfrm>
          <a:prstGeom prst="roundRect">
            <a:avLst>
              <a:gd name="adj" fmla="val 0"/>
            </a:avLst>
          </a:prstGeom>
          <a:gradFill flip="none" rotWithShape="1">
            <a:gsLst>
              <a:gs pos="46000">
                <a:srgbClr val="C7000B">
                  <a:alpha val="0"/>
                </a:srgbClr>
              </a:gs>
              <a:gs pos="100000">
                <a:srgbClr val="C7000B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 w="12700" cap="flat" cmpd="sng" algn="ctr">
            <a:gradFill flip="none" rotWithShape="1">
              <a:gsLst>
                <a:gs pos="50000">
                  <a:srgbClr val="C7000B">
                    <a:alpha val="5000"/>
                  </a:srgbClr>
                </a:gs>
                <a:gs pos="0">
                  <a:srgbClr val="C7000B">
                    <a:alpha val="80000"/>
                  </a:srgbClr>
                </a:gs>
                <a:gs pos="100000">
                  <a:srgbClr val="C7000B">
                    <a:alpha val="80000"/>
                  </a:srgbClr>
                </a:gs>
              </a:gsLst>
              <a:lin ang="0" scaled="0"/>
              <a:tileRect/>
            </a:gra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defTabSz="914471"/>
            <a:endParaRPr lang="zh-CN" altLang="en-US" sz="1200" kern="0" dirty="0">
              <a:solidFill>
                <a:schemeClr val="bg2">
                  <a:lumMod val="10000"/>
                </a:schemeClr>
              </a:solidFill>
              <a:latin typeface="Arial"/>
              <a:ea typeface="Microsoft YaHei"/>
              <a:sym typeface="微软雅黑" panose="020B0503020204020204" pitchFamily="34" charset="-122"/>
            </a:endParaRPr>
          </a:p>
        </p:txBody>
      </p:sp>
      <p:sp>
        <p:nvSpPr>
          <p:cNvPr id="12" name="矩形 12"/>
          <p:cNvSpPr/>
          <p:nvPr/>
        </p:nvSpPr>
        <p:spPr>
          <a:xfrm>
            <a:off x="6421705" y="4276867"/>
            <a:ext cx="615553" cy="101765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 numCol="1" anchor="t">
            <a:spAutoFit/>
          </a:bodyPr>
          <a:lstStyle/>
          <a:p>
            <a:pPr algn="ctr" defTabSz="1217394">
              <a:lnSpc>
                <a:spcPts val="1800"/>
              </a:lnSpc>
              <a:spcBef>
                <a:spcPts val="300"/>
              </a:spcBef>
              <a:defRPr sz="1200">
                <a:solidFill>
                  <a:srgbClr val="404040"/>
                </a:solidFill>
                <a:latin typeface="微软雅黑"/>
                <a:ea typeface="微软雅黑"/>
                <a:cs typeface="微软雅黑"/>
                <a:sym typeface="微软雅黑"/>
              </a:defRPr>
            </a:pPr>
            <a:r>
              <a:rPr lang="zh-CN" altLang="en-US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鲲鹏计算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algn="ctr" defTabSz="1217394">
              <a:lnSpc>
                <a:spcPts val="1800"/>
              </a:lnSpc>
              <a:spcBef>
                <a:spcPts val="300"/>
              </a:spcBef>
              <a:defRPr sz="1200">
                <a:solidFill>
                  <a:srgbClr val="404040"/>
                </a:solidFill>
                <a:latin typeface="微软雅黑"/>
                <a:ea typeface="微软雅黑"/>
                <a:cs typeface="微软雅黑"/>
                <a:sym typeface="微软雅黑"/>
              </a:defRPr>
            </a:pPr>
            <a:r>
              <a:rPr lang="zh-CN" altLang="en-US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昇腾计算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algn="ctr" defTabSz="1217394">
              <a:lnSpc>
                <a:spcPts val="1800"/>
              </a:lnSpc>
              <a:spcBef>
                <a:spcPts val="300"/>
              </a:spcBef>
              <a:defRPr sz="1200">
                <a:solidFill>
                  <a:srgbClr val="404040"/>
                </a:solidFill>
                <a:latin typeface="微软雅黑"/>
                <a:ea typeface="微软雅黑"/>
                <a:cs typeface="微软雅黑"/>
                <a:sym typeface="微软雅黑"/>
              </a:defRPr>
            </a:pPr>
            <a:r>
              <a:rPr lang="zh-CN" altLang="en-US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集群计算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algn="ctr" defTabSz="1217394">
              <a:lnSpc>
                <a:spcPts val="1800"/>
              </a:lnSpc>
              <a:spcBef>
                <a:spcPts val="300"/>
              </a:spcBef>
              <a:defRPr sz="1200">
                <a:solidFill>
                  <a:srgbClr val="404040"/>
                </a:solidFill>
                <a:latin typeface="微软雅黑"/>
                <a:ea typeface="微软雅黑"/>
                <a:cs typeface="微软雅黑"/>
                <a:sym typeface="微软雅黑"/>
              </a:defRPr>
            </a:pPr>
            <a:r>
              <a:rPr lang="zh-CN" altLang="en-US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数据存储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cxnSp>
        <p:nvCxnSpPr>
          <p:cNvPr id="17" name="直接连接符 16"/>
          <p:cNvCxnSpPr/>
          <p:nvPr/>
        </p:nvCxnSpPr>
        <p:spPr>
          <a:xfrm>
            <a:off x="4301450" y="3963851"/>
            <a:ext cx="0" cy="1429170"/>
          </a:xfrm>
          <a:prstGeom prst="line">
            <a:avLst/>
          </a:prstGeom>
          <a:noFill/>
          <a:ln w="19050" cap="flat" cmpd="sng" algn="ctr">
            <a:solidFill>
              <a:srgbClr val="666666">
                <a:lumMod val="20000"/>
                <a:lumOff val="80000"/>
              </a:srgbClr>
            </a:solidFill>
            <a:prstDash val="solid"/>
            <a:miter lim="800000"/>
          </a:ln>
          <a:effectLst/>
        </p:spPr>
      </p:cxnSp>
      <p:sp>
        <p:nvSpPr>
          <p:cNvPr id="33" name="矩形 32"/>
          <p:cNvSpPr/>
          <p:nvPr/>
        </p:nvSpPr>
        <p:spPr>
          <a:xfrm>
            <a:off x="716352" y="3929587"/>
            <a:ext cx="290147" cy="15081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112"/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信息分发与交互</a:t>
            </a:r>
          </a:p>
        </p:txBody>
      </p:sp>
      <p:sp>
        <p:nvSpPr>
          <p:cNvPr id="34" name="矩形 33"/>
          <p:cNvSpPr/>
          <p:nvPr/>
        </p:nvSpPr>
        <p:spPr>
          <a:xfrm>
            <a:off x="6778766" y="5781656"/>
            <a:ext cx="172013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112"/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信息处理与存储</a:t>
            </a:r>
          </a:p>
        </p:txBody>
      </p:sp>
      <p:sp>
        <p:nvSpPr>
          <p:cNvPr id="36" name="矩形 35"/>
          <p:cNvSpPr/>
          <p:nvPr/>
        </p:nvSpPr>
        <p:spPr>
          <a:xfrm>
            <a:off x="2934614" y="5781656"/>
            <a:ext cx="17561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112"/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信息的学习与推理</a:t>
            </a:r>
          </a:p>
        </p:txBody>
      </p:sp>
      <p:sp>
        <p:nvSpPr>
          <p:cNvPr id="37" name="矩形 36"/>
          <p:cNvSpPr/>
          <p:nvPr/>
        </p:nvSpPr>
        <p:spPr>
          <a:xfrm>
            <a:off x="1661250" y="3906159"/>
            <a:ext cx="461665" cy="27687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914400">
              <a:defRPr/>
            </a:pPr>
            <a:r>
              <a:rPr lang="zh-CN" altLang="en-US" sz="1799" b="1" kern="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终端</a:t>
            </a:r>
          </a:p>
        </p:txBody>
      </p:sp>
      <p:sp>
        <p:nvSpPr>
          <p:cNvPr id="38" name="矩形 37"/>
          <p:cNvSpPr/>
          <p:nvPr/>
        </p:nvSpPr>
        <p:spPr>
          <a:xfrm>
            <a:off x="4929159" y="3906159"/>
            <a:ext cx="461665" cy="27687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914400">
              <a:defRPr/>
            </a:pPr>
            <a:r>
              <a:rPr lang="zh-CN" altLang="en-US" sz="1799" b="1" kern="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联接</a:t>
            </a:r>
          </a:p>
        </p:txBody>
      </p:sp>
      <p:sp>
        <p:nvSpPr>
          <p:cNvPr id="39" name="矩形 38"/>
          <p:cNvSpPr/>
          <p:nvPr/>
        </p:nvSpPr>
        <p:spPr>
          <a:xfrm>
            <a:off x="6498649" y="3906159"/>
            <a:ext cx="461665" cy="27687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914400">
              <a:defRPr/>
            </a:pPr>
            <a:r>
              <a:rPr lang="zh-CN" altLang="en-US" sz="1799" b="1" kern="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计算</a:t>
            </a:r>
          </a:p>
        </p:txBody>
      </p:sp>
      <p:sp>
        <p:nvSpPr>
          <p:cNvPr id="41" name="矩形 40"/>
          <p:cNvSpPr/>
          <p:nvPr/>
        </p:nvSpPr>
        <p:spPr>
          <a:xfrm>
            <a:off x="4804923" y="3338870"/>
            <a:ext cx="93971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112"/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信息传送</a:t>
            </a:r>
          </a:p>
        </p:txBody>
      </p:sp>
      <p:sp>
        <p:nvSpPr>
          <p:cNvPr id="44" name="燕尾形 43"/>
          <p:cNvSpPr>
            <a:spLocks noChangeAspect="1"/>
          </p:cNvSpPr>
          <p:nvPr/>
        </p:nvSpPr>
        <p:spPr>
          <a:xfrm>
            <a:off x="5732890" y="3568510"/>
            <a:ext cx="214094" cy="214562"/>
          </a:xfrm>
          <a:prstGeom prst="chevron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12"/>
            <a:endParaRPr lang="zh-CN" altLang="en-US" sz="1799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46" name="燕尾形 45"/>
          <p:cNvSpPr>
            <a:spLocks noChangeAspect="1"/>
          </p:cNvSpPr>
          <p:nvPr/>
        </p:nvSpPr>
        <p:spPr>
          <a:xfrm rot="16200000">
            <a:off x="962183" y="4576358"/>
            <a:ext cx="214094" cy="214562"/>
          </a:xfrm>
          <a:prstGeom prst="chevron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12"/>
            <a:endParaRPr lang="zh-CN" altLang="en-US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47" name="燕尾形 46"/>
          <p:cNvSpPr>
            <a:spLocks noChangeAspect="1"/>
          </p:cNvSpPr>
          <p:nvPr/>
        </p:nvSpPr>
        <p:spPr>
          <a:xfrm rot="10800000">
            <a:off x="3705641" y="5571293"/>
            <a:ext cx="214094" cy="214562"/>
          </a:xfrm>
          <a:prstGeom prst="chevron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12"/>
            <a:endParaRPr lang="zh-CN" altLang="en-US" sz="1799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51" name="圆角矩形 50"/>
          <p:cNvSpPr/>
          <p:nvPr/>
        </p:nvSpPr>
        <p:spPr>
          <a:xfrm>
            <a:off x="5309615" y="5551969"/>
            <a:ext cx="882832" cy="279114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 w="9525" cap="flat" cmpd="sng" algn="ctr">
            <a:gradFill flip="none" rotWithShape="1">
              <a:gsLst>
                <a:gs pos="50000">
                  <a:srgbClr val="C7000B">
                    <a:alpha val="5000"/>
                  </a:srgbClr>
                </a:gs>
                <a:gs pos="0">
                  <a:srgbClr val="C7000B">
                    <a:alpha val="80000"/>
                  </a:srgbClr>
                </a:gs>
                <a:gs pos="100000">
                  <a:srgbClr val="C7000B">
                    <a:alpha val="80000"/>
                  </a:srgbClr>
                </a:gs>
              </a:gsLst>
              <a:lin ang="0" scaled="0"/>
              <a:tileRect/>
            </a:gra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 defTabSz="914471"/>
            <a:r>
              <a:rPr lang="en-US" altLang="zh-CN" sz="1600" b="1" kern="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+</a:t>
            </a:r>
            <a:r>
              <a:rPr lang="zh-CN" altLang="en-US" sz="1600" b="1" kern="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智能</a:t>
            </a:r>
          </a:p>
        </p:txBody>
      </p:sp>
      <p:sp>
        <p:nvSpPr>
          <p:cNvPr id="48" name="文本框 47"/>
          <p:cNvSpPr txBox="1"/>
          <p:nvPr/>
        </p:nvSpPr>
        <p:spPr>
          <a:xfrm>
            <a:off x="1199585" y="4276867"/>
            <a:ext cx="1384995" cy="11330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914112">
              <a:lnSpc>
                <a:spcPts val="1800"/>
              </a:lnSpc>
            </a:pPr>
            <a:r>
              <a:rPr lang="zh-CN" altLang="en-US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智能手机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algn="ctr" defTabSz="914112">
              <a:lnSpc>
                <a:spcPts val="1800"/>
              </a:lnSpc>
            </a:pPr>
            <a:r>
              <a:rPr lang="zh-CN" altLang="en-US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可穿戴式终端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algn="ctr" defTabSz="914112">
              <a:lnSpc>
                <a:spcPts val="1800"/>
              </a:lnSpc>
            </a:pPr>
            <a:r>
              <a:rPr lang="zh-CN" altLang="en-US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家庭智能终端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algn="ctr" defTabSz="914112">
              <a:lnSpc>
                <a:spcPts val="1800"/>
              </a:lnSpc>
            </a:pPr>
            <a:r>
              <a:rPr lang="zh-CN" altLang="en-US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车载模块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algn="ctr" defTabSz="914112">
              <a:lnSpc>
                <a:spcPts val="1800"/>
              </a:lnSpc>
            </a:pPr>
            <a:r>
              <a:rPr lang="zh-CN" altLang="en-US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全场景生活体验服务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52" name="文本框 51"/>
          <p:cNvSpPr txBox="1"/>
          <p:nvPr/>
        </p:nvSpPr>
        <p:spPr>
          <a:xfrm>
            <a:off x="4852215" y="4276867"/>
            <a:ext cx="615553" cy="11330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914112">
              <a:lnSpc>
                <a:spcPts val="1800"/>
              </a:lnSpc>
            </a:pPr>
            <a:r>
              <a:rPr lang="zh-CN" altLang="en-US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无线网络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algn="ctr" defTabSz="914112">
              <a:lnSpc>
                <a:spcPts val="1800"/>
              </a:lnSpc>
            </a:pPr>
            <a:r>
              <a:rPr lang="zh-CN" altLang="en-US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数据通信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algn="ctr" defTabSz="914112">
              <a:lnSpc>
                <a:spcPts val="1800"/>
              </a:lnSpc>
            </a:pPr>
            <a:r>
              <a:rPr lang="zh-CN" altLang="en-US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传送网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algn="ctr" defTabSz="914112">
              <a:lnSpc>
                <a:spcPts val="1800"/>
              </a:lnSpc>
            </a:pPr>
            <a:r>
              <a:rPr lang="zh-CN" altLang="en-US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接入网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algn="ctr" defTabSz="914112">
              <a:lnSpc>
                <a:spcPts val="1800"/>
              </a:lnSpc>
            </a:pPr>
            <a:r>
              <a:rPr lang="zh-CN" altLang="en-US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核心网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cxnSp>
        <p:nvCxnSpPr>
          <p:cNvPr id="55" name="直接连接符 54"/>
          <p:cNvCxnSpPr/>
          <p:nvPr/>
        </p:nvCxnSpPr>
        <p:spPr>
          <a:xfrm>
            <a:off x="5916619" y="3953850"/>
            <a:ext cx="0" cy="1429170"/>
          </a:xfrm>
          <a:prstGeom prst="line">
            <a:avLst/>
          </a:prstGeom>
          <a:noFill/>
          <a:ln w="19050" cap="flat" cmpd="sng" algn="ctr">
            <a:solidFill>
              <a:srgbClr val="666666">
                <a:lumMod val="20000"/>
                <a:lumOff val="80000"/>
              </a:srgbClr>
            </a:solidFill>
            <a:prstDash val="solid"/>
            <a:miter lim="800000"/>
          </a:ln>
          <a:effectLst/>
        </p:spPr>
      </p:cxnSp>
      <p:cxnSp>
        <p:nvCxnSpPr>
          <p:cNvPr id="43" name="直接连接符 42"/>
          <p:cNvCxnSpPr/>
          <p:nvPr/>
        </p:nvCxnSpPr>
        <p:spPr>
          <a:xfrm>
            <a:off x="2686281" y="3963451"/>
            <a:ext cx="0" cy="1429170"/>
          </a:xfrm>
          <a:prstGeom prst="line">
            <a:avLst/>
          </a:prstGeom>
          <a:noFill/>
          <a:ln w="19050" cap="flat" cmpd="sng" algn="ctr">
            <a:solidFill>
              <a:srgbClr val="666666">
                <a:lumMod val="20000"/>
                <a:lumOff val="80000"/>
              </a:srgbClr>
            </a:solidFill>
            <a:prstDash val="solid"/>
            <a:miter lim="800000"/>
          </a:ln>
          <a:effectLst/>
        </p:spPr>
      </p:cxnSp>
      <p:sp>
        <p:nvSpPr>
          <p:cNvPr id="53" name="文本框 52"/>
          <p:cNvSpPr txBox="1"/>
          <p:nvPr/>
        </p:nvSpPr>
        <p:spPr>
          <a:xfrm>
            <a:off x="3181128" y="4276867"/>
            <a:ext cx="615553" cy="113306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914112">
              <a:lnSpc>
                <a:spcPts val="1800"/>
              </a:lnSpc>
            </a:pPr>
            <a:r>
              <a:rPr lang="zh-CN" altLang="en-US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自动驾驶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algn="ctr" defTabSz="914112">
              <a:lnSpc>
                <a:spcPts val="1800"/>
              </a:lnSpc>
            </a:pPr>
            <a:r>
              <a:rPr lang="zh-CN" altLang="en-US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智能感知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algn="ctr" defTabSz="914112">
              <a:lnSpc>
                <a:spcPts val="1800"/>
              </a:lnSpc>
            </a:pPr>
            <a:r>
              <a:rPr lang="zh-CN" altLang="en-US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智能车云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algn="ctr" defTabSz="914112">
              <a:lnSpc>
                <a:spcPts val="1800"/>
              </a:lnSpc>
            </a:pPr>
            <a:r>
              <a:rPr lang="zh-CN" altLang="en-US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智能网联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algn="ctr" defTabSz="914112">
              <a:lnSpc>
                <a:spcPts val="1800"/>
              </a:lnSpc>
            </a:pPr>
            <a:r>
              <a:rPr lang="zh-CN" altLang="en-US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智能座舱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13" name="矩形 55"/>
          <p:cNvSpPr/>
          <p:nvPr/>
        </p:nvSpPr>
        <p:spPr>
          <a:xfrm>
            <a:off x="8093039" y="4276867"/>
            <a:ext cx="461666" cy="4790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 anchor="t">
            <a:spAutoFit/>
          </a:bodyPr>
          <a:lstStyle/>
          <a:p>
            <a:pPr algn="ctr" defTabSz="1217394">
              <a:lnSpc>
                <a:spcPts val="1800"/>
              </a:lnSpc>
              <a:spcBef>
                <a:spcPts val="300"/>
              </a:spcBef>
              <a:defRPr sz="1200">
                <a:solidFill>
                  <a:srgbClr val="404040"/>
                </a:solidFill>
                <a:latin typeface="微软雅黑"/>
                <a:ea typeface="微软雅黑"/>
                <a:cs typeface="微软雅黑"/>
                <a:sym typeface="微软雅黑"/>
              </a:defRPr>
            </a:pPr>
            <a:r>
              <a:rPr lang="zh-CN" altLang="en-US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公有云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algn="ctr" defTabSz="1217394">
              <a:lnSpc>
                <a:spcPts val="1800"/>
              </a:lnSpc>
              <a:spcBef>
                <a:spcPts val="300"/>
              </a:spcBef>
              <a:defRPr sz="1200">
                <a:solidFill>
                  <a:srgbClr val="404040"/>
                </a:solidFill>
                <a:latin typeface="微软雅黑"/>
                <a:ea typeface="微软雅黑"/>
                <a:cs typeface="微软雅黑"/>
                <a:sym typeface="微软雅黑"/>
              </a:defRPr>
            </a:pPr>
            <a:r>
              <a:rPr lang="zh-CN" altLang="en-US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混合云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56" name="矩形 55"/>
          <p:cNvSpPr/>
          <p:nvPr/>
        </p:nvSpPr>
        <p:spPr>
          <a:xfrm>
            <a:off x="7977623" y="3906159"/>
            <a:ext cx="692497" cy="27687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914400">
              <a:defRPr/>
            </a:pPr>
            <a:r>
              <a:rPr lang="zh-CN" altLang="en-US" sz="1799" b="1" kern="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云业务</a:t>
            </a:r>
          </a:p>
        </p:txBody>
      </p:sp>
      <p:cxnSp>
        <p:nvCxnSpPr>
          <p:cNvPr id="57" name="直接连接符 56"/>
          <p:cNvCxnSpPr/>
          <p:nvPr/>
        </p:nvCxnSpPr>
        <p:spPr>
          <a:xfrm>
            <a:off x="7531788" y="3962418"/>
            <a:ext cx="0" cy="1429170"/>
          </a:xfrm>
          <a:prstGeom prst="line">
            <a:avLst/>
          </a:prstGeom>
          <a:noFill/>
          <a:ln w="19050" cap="flat" cmpd="sng" algn="ctr">
            <a:solidFill>
              <a:srgbClr val="666666">
                <a:lumMod val="20000"/>
                <a:lumOff val="80000"/>
              </a:srgbClr>
            </a:solidFill>
            <a:prstDash val="solid"/>
            <a:miter lim="800000"/>
          </a:ln>
          <a:effectLst/>
        </p:spPr>
      </p:cxnSp>
      <p:sp>
        <p:nvSpPr>
          <p:cNvPr id="59" name="矩形 58"/>
          <p:cNvSpPr/>
          <p:nvPr/>
        </p:nvSpPr>
        <p:spPr>
          <a:xfrm>
            <a:off x="9866942" y="3906159"/>
            <a:ext cx="923330" cy="27687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914400">
              <a:defRPr/>
            </a:pPr>
            <a:r>
              <a:rPr lang="zh-CN" altLang="en-US" sz="1799" b="1" kern="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数字能源</a:t>
            </a:r>
          </a:p>
        </p:txBody>
      </p:sp>
      <p:sp>
        <p:nvSpPr>
          <p:cNvPr id="60" name="矩形 59"/>
          <p:cNvSpPr/>
          <p:nvPr/>
        </p:nvSpPr>
        <p:spPr>
          <a:xfrm>
            <a:off x="2796407" y="3906159"/>
            <a:ext cx="1384995" cy="27687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 defTabSz="914400">
              <a:defRPr/>
            </a:pPr>
            <a:r>
              <a:rPr lang="zh-CN" altLang="en-US" sz="1799" b="1" kern="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智能汽车部件</a:t>
            </a:r>
          </a:p>
        </p:txBody>
      </p:sp>
      <p:sp>
        <p:nvSpPr>
          <p:cNvPr id="63" name="文本框 62"/>
          <p:cNvSpPr txBox="1"/>
          <p:nvPr/>
        </p:nvSpPr>
        <p:spPr>
          <a:xfrm>
            <a:off x="9337562" y="4276867"/>
            <a:ext cx="923331" cy="7483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1217394">
              <a:lnSpc>
                <a:spcPts val="1800"/>
              </a:lnSpc>
              <a:spcBef>
                <a:spcPts val="300"/>
              </a:spcBef>
              <a:defRPr sz="1200">
                <a:solidFill>
                  <a:srgbClr val="404040"/>
                </a:solidFill>
                <a:latin typeface="微软雅黑"/>
                <a:ea typeface="微软雅黑"/>
                <a:cs typeface="微软雅黑"/>
                <a:sym typeface="微软雅黑"/>
              </a:defRPr>
            </a:pPr>
            <a:r>
              <a:rPr lang="zh-CN" altLang="en-US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智能光伏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algn="ctr" defTabSz="1217394">
              <a:lnSpc>
                <a:spcPts val="1800"/>
              </a:lnSpc>
              <a:spcBef>
                <a:spcPts val="300"/>
              </a:spcBef>
              <a:defRPr sz="1200">
                <a:solidFill>
                  <a:srgbClr val="404040"/>
                </a:solidFill>
                <a:latin typeface="微软雅黑"/>
                <a:ea typeface="微软雅黑"/>
                <a:cs typeface="微软雅黑"/>
                <a:sym typeface="微软雅黑"/>
              </a:defRPr>
            </a:pPr>
            <a:r>
              <a:rPr lang="zh-CN" altLang="en-US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站点能源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algn="ctr" defTabSz="1217394">
              <a:lnSpc>
                <a:spcPts val="1800"/>
              </a:lnSpc>
              <a:spcBef>
                <a:spcPts val="300"/>
              </a:spcBef>
              <a:defRPr sz="1200">
                <a:solidFill>
                  <a:srgbClr val="404040"/>
                </a:solidFill>
                <a:latin typeface="微软雅黑"/>
                <a:ea typeface="微软雅黑"/>
                <a:cs typeface="微软雅黑"/>
                <a:sym typeface="微软雅黑"/>
              </a:defRPr>
            </a:pPr>
            <a:r>
              <a:rPr lang="zh-CN" altLang="en-US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数据中心能源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45" name="文本框 44"/>
          <p:cNvSpPr txBox="1"/>
          <p:nvPr/>
        </p:nvSpPr>
        <p:spPr>
          <a:xfrm>
            <a:off x="10396323" y="4276867"/>
            <a:ext cx="923331" cy="7483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1217394">
              <a:lnSpc>
                <a:spcPts val="1800"/>
              </a:lnSpc>
              <a:spcBef>
                <a:spcPts val="300"/>
              </a:spcBef>
              <a:defRPr sz="1200">
                <a:solidFill>
                  <a:srgbClr val="404040"/>
                </a:solidFill>
                <a:latin typeface="微软雅黑"/>
                <a:ea typeface="微软雅黑"/>
                <a:cs typeface="微软雅黑"/>
                <a:sym typeface="微软雅黑"/>
              </a:defRPr>
            </a:pPr>
            <a:r>
              <a:rPr lang="zh-CN" altLang="en-US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智能电动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algn="ctr" defTabSz="1217394">
              <a:lnSpc>
                <a:spcPts val="1800"/>
              </a:lnSpc>
              <a:spcBef>
                <a:spcPts val="300"/>
              </a:spcBef>
              <a:defRPr sz="1200">
                <a:solidFill>
                  <a:srgbClr val="404040"/>
                </a:solidFill>
                <a:latin typeface="微软雅黑"/>
                <a:ea typeface="微软雅黑"/>
                <a:cs typeface="微软雅黑"/>
                <a:sym typeface="微软雅黑"/>
              </a:defRPr>
            </a:pPr>
            <a:r>
              <a:rPr lang="zh-CN" altLang="en-US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嵌入式电源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  <a:p>
            <a:pPr algn="ctr" defTabSz="1217394">
              <a:lnSpc>
                <a:spcPts val="1800"/>
              </a:lnSpc>
              <a:spcBef>
                <a:spcPts val="300"/>
              </a:spcBef>
              <a:defRPr sz="1200">
                <a:solidFill>
                  <a:srgbClr val="404040"/>
                </a:solidFill>
                <a:latin typeface="微软雅黑"/>
                <a:ea typeface="微软雅黑"/>
                <a:cs typeface="微软雅黑"/>
                <a:sym typeface="微软雅黑"/>
              </a:defRPr>
            </a:pPr>
            <a:r>
              <a:rPr lang="zh-CN" altLang="en-US" sz="12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综合智慧能源</a:t>
            </a:r>
            <a:endParaRPr lang="en-US" altLang="zh-CN" sz="12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54" name="燕尾形 53"/>
          <p:cNvSpPr>
            <a:spLocks noChangeAspect="1"/>
          </p:cNvSpPr>
          <p:nvPr/>
        </p:nvSpPr>
        <p:spPr>
          <a:xfrm rot="10800000">
            <a:off x="7531789" y="5564341"/>
            <a:ext cx="214094" cy="214562"/>
          </a:xfrm>
          <a:prstGeom prst="chevron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12"/>
            <a:endParaRPr lang="zh-CN" altLang="en-US" sz="1799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49" name="Freeform 9"/>
          <p:cNvSpPr/>
          <p:nvPr/>
        </p:nvSpPr>
        <p:spPr>
          <a:xfrm>
            <a:off x="2686281" y="2663210"/>
            <a:ext cx="338646" cy="2818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988" y="13254"/>
                </a:moveTo>
                <a:lnTo>
                  <a:pt x="20842" y="13107"/>
                </a:lnTo>
                <a:lnTo>
                  <a:pt x="20573" y="12931"/>
                </a:lnTo>
                <a:lnTo>
                  <a:pt x="19912" y="12519"/>
                </a:lnTo>
                <a:lnTo>
                  <a:pt x="19178" y="12137"/>
                </a:lnTo>
                <a:lnTo>
                  <a:pt x="18591" y="11843"/>
                </a:lnTo>
                <a:lnTo>
                  <a:pt x="18420" y="11726"/>
                </a:lnTo>
                <a:lnTo>
                  <a:pt x="18249" y="11638"/>
                </a:lnTo>
                <a:lnTo>
                  <a:pt x="18077" y="11432"/>
                </a:lnTo>
                <a:lnTo>
                  <a:pt x="18029" y="11344"/>
                </a:lnTo>
                <a:lnTo>
                  <a:pt x="18004" y="11256"/>
                </a:lnTo>
                <a:lnTo>
                  <a:pt x="18004" y="10697"/>
                </a:lnTo>
                <a:lnTo>
                  <a:pt x="18640" y="10609"/>
                </a:lnTo>
                <a:lnTo>
                  <a:pt x="19227" y="10433"/>
                </a:lnTo>
                <a:lnTo>
                  <a:pt x="19496" y="10344"/>
                </a:lnTo>
                <a:lnTo>
                  <a:pt x="19765" y="10227"/>
                </a:lnTo>
                <a:lnTo>
                  <a:pt x="20255" y="9933"/>
                </a:lnTo>
                <a:lnTo>
                  <a:pt x="20034" y="9845"/>
                </a:lnTo>
                <a:lnTo>
                  <a:pt x="19863" y="9698"/>
                </a:lnTo>
                <a:lnTo>
                  <a:pt x="19692" y="9522"/>
                </a:lnTo>
                <a:lnTo>
                  <a:pt x="19570" y="9345"/>
                </a:lnTo>
                <a:lnTo>
                  <a:pt x="19423" y="9110"/>
                </a:lnTo>
                <a:lnTo>
                  <a:pt x="19227" y="8640"/>
                </a:lnTo>
                <a:lnTo>
                  <a:pt x="19154" y="8346"/>
                </a:lnTo>
                <a:lnTo>
                  <a:pt x="19031" y="7788"/>
                </a:lnTo>
                <a:lnTo>
                  <a:pt x="18958" y="7171"/>
                </a:lnTo>
                <a:lnTo>
                  <a:pt x="18909" y="6553"/>
                </a:lnTo>
                <a:lnTo>
                  <a:pt x="18885" y="5936"/>
                </a:lnTo>
                <a:lnTo>
                  <a:pt x="18885" y="5642"/>
                </a:lnTo>
                <a:lnTo>
                  <a:pt x="18860" y="5349"/>
                </a:lnTo>
                <a:lnTo>
                  <a:pt x="18811" y="5084"/>
                </a:lnTo>
                <a:lnTo>
                  <a:pt x="18738" y="4820"/>
                </a:lnTo>
                <a:lnTo>
                  <a:pt x="18640" y="4584"/>
                </a:lnTo>
                <a:lnTo>
                  <a:pt x="18542" y="4379"/>
                </a:lnTo>
                <a:lnTo>
                  <a:pt x="18420" y="4173"/>
                </a:lnTo>
                <a:lnTo>
                  <a:pt x="18273" y="3967"/>
                </a:lnTo>
                <a:lnTo>
                  <a:pt x="18126" y="3820"/>
                </a:lnTo>
                <a:lnTo>
                  <a:pt x="17784" y="3527"/>
                </a:lnTo>
                <a:lnTo>
                  <a:pt x="17564" y="3438"/>
                </a:lnTo>
                <a:lnTo>
                  <a:pt x="17368" y="3350"/>
                </a:lnTo>
                <a:lnTo>
                  <a:pt x="17123" y="3291"/>
                </a:lnTo>
                <a:lnTo>
                  <a:pt x="16903" y="3233"/>
                </a:lnTo>
                <a:lnTo>
                  <a:pt x="16659" y="3233"/>
                </a:lnTo>
                <a:lnTo>
                  <a:pt x="16365" y="3262"/>
                </a:lnTo>
                <a:lnTo>
                  <a:pt x="16096" y="3291"/>
                </a:lnTo>
                <a:lnTo>
                  <a:pt x="15827" y="3380"/>
                </a:lnTo>
                <a:lnTo>
                  <a:pt x="15582" y="3497"/>
                </a:lnTo>
                <a:lnTo>
                  <a:pt x="15533" y="4438"/>
                </a:lnTo>
                <a:lnTo>
                  <a:pt x="15460" y="5407"/>
                </a:lnTo>
                <a:lnTo>
                  <a:pt x="15436" y="5554"/>
                </a:lnTo>
                <a:lnTo>
                  <a:pt x="15582" y="5819"/>
                </a:lnTo>
                <a:lnTo>
                  <a:pt x="15680" y="6113"/>
                </a:lnTo>
                <a:lnTo>
                  <a:pt x="15754" y="6436"/>
                </a:lnTo>
                <a:lnTo>
                  <a:pt x="15802" y="6759"/>
                </a:lnTo>
                <a:lnTo>
                  <a:pt x="15851" y="7141"/>
                </a:lnTo>
                <a:lnTo>
                  <a:pt x="15827" y="7494"/>
                </a:lnTo>
                <a:lnTo>
                  <a:pt x="15802" y="7905"/>
                </a:lnTo>
                <a:lnTo>
                  <a:pt x="15754" y="8287"/>
                </a:lnTo>
                <a:lnTo>
                  <a:pt x="15680" y="8611"/>
                </a:lnTo>
                <a:lnTo>
                  <a:pt x="15582" y="8934"/>
                </a:lnTo>
                <a:lnTo>
                  <a:pt x="15338" y="9522"/>
                </a:lnTo>
                <a:lnTo>
                  <a:pt x="15166" y="9816"/>
                </a:lnTo>
                <a:lnTo>
                  <a:pt x="14995" y="10080"/>
                </a:lnTo>
                <a:lnTo>
                  <a:pt x="14824" y="10315"/>
                </a:lnTo>
                <a:lnTo>
                  <a:pt x="14604" y="10491"/>
                </a:lnTo>
                <a:lnTo>
                  <a:pt x="14579" y="10580"/>
                </a:lnTo>
                <a:lnTo>
                  <a:pt x="14922" y="10668"/>
                </a:lnTo>
                <a:lnTo>
                  <a:pt x="15289" y="10697"/>
                </a:lnTo>
                <a:lnTo>
                  <a:pt x="15289" y="11256"/>
                </a:lnTo>
                <a:lnTo>
                  <a:pt x="15264" y="11344"/>
                </a:lnTo>
                <a:lnTo>
                  <a:pt x="15215" y="11461"/>
                </a:lnTo>
                <a:lnTo>
                  <a:pt x="15142" y="11549"/>
                </a:lnTo>
                <a:lnTo>
                  <a:pt x="15044" y="11638"/>
                </a:lnTo>
                <a:lnTo>
                  <a:pt x="14702" y="11843"/>
                </a:lnTo>
                <a:lnTo>
                  <a:pt x="14139" y="12108"/>
                </a:lnTo>
                <a:lnTo>
                  <a:pt x="14139" y="12901"/>
                </a:lnTo>
                <a:lnTo>
                  <a:pt x="14433" y="13078"/>
                </a:lnTo>
                <a:lnTo>
                  <a:pt x="16023" y="13930"/>
                </a:lnTo>
                <a:lnTo>
                  <a:pt x="16708" y="14312"/>
                </a:lnTo>
                <a:lnTo>
                  <a:pt x="17270" y="14635"/>
                </a:lnTo>
                <a:lnTo>
                  <a:pt x="17784" y="14958"/>
                </a:lnTo>
                <a:lnTo>
                  <a:pt x="18175" y="15252"/>
                </a:lnTo>
                <a:lnTo>
                  <a:pt x="18493" y="15517"/>
                </a:lnTo>
                <a:lnTo>
                  <a:pt x="18713" y="15752"/>
                </a:lnTo>
                <a:lnTo>
                  <a:pt x="18836" y="15899"/>
                </a:lnTo>
                <a:lnTo>
                  <a:pt x="18958" y="16104"/>
                </a:lnTo>
                <a:lnTo>
                  <a:pt x="19839" y="15987"/>
                </a:lnTo>
                <a:lnTo>
                  <a:pt x="20548" y="15899"/>
                </a:lnTo>
                <a:lnTo>
                  <a:pt x="21062" y="15781"/>
                </a:lnTo>
                <a:lnTo>
                  <a:pt x="21404" y="15693"/>
                </a:lnTo>
                <a:lnTo>
                  <a:pt x="21502" y="15634"/>
                </a:lnTo>
                <a:lnTo>
                  <a:pt x="21551" y="15576"/>
                </a:lnTo>
                <a:lnTo>
                  <a:pt x="21576" y="15517"/>
                </a:lnTo>
                <a:lnTo>
                  <a:pt x="21600" y="15429"/>
                </a:lnTo>
                <a:lnTo>
                  <a:pt x="21551" y="15076"/>
                </a:lnTo>
                <a:lnTo>
                  <a:pt x="21453" y="14459"/>
                </a:lnTo>
                <a:lnTo>
                  <a:pt x="21380" y="14136"/>
                </a:lnTo>
                <a:lnTo>
                  <a:pt x="21282" y="13783"/>
                </a:lnTo>
                <a:lnTo>
                  <a:pt x="21160" y="13489"/>
                </a:lnTo>
                <a:lnTo>
                  <a:pt x="21086" y="13371"/>
                </a:lnTo>
                <a:lnTo>
                  <a:pt x="20988" y="13254"/>
                </a:lnTo>
                <a:close/>
                <a:moveTo>
                  <a:pt x="7192" y="13078"/>
                </a:moveTo>
                <a:lnTo>
                  <a:pt x="7461" y="12931"/>
                </a:lnTo>
                <a:lnTo>
                  <a:pt x="7461" y="12108"/>
                </a:lnTo>
                <a:lnTo>
                  <a:pt x="6898" y="11843"/>
                </a:lnTo>
                <a:lnTo>
                  <a:pt x="6727" y="11726"/>
                </a:lnTo>
                <a:lnTo>
                  <a:pt x="6580" y="11638"/>
                </a:lnTo>
                <a:lnTo>
                  <a:pt x="6458" y="11520"/>
                </a:lnTo>
                <a:lnTo>
                  <a:pt x="6385" y="11432"/>
                </a:lnTo>
                <a:lnTo>
                  <a:pt x="6336" y="11344"/>
                </a:lnTo>
                <a:lnTo>
                  <a:pt x="6311" y="11256"/>
                </a:lnTo>
                <a:lnTo>
                  <a:pt x="6311" y="10256"/>
                </a:lnTo>
                <a:lnTo>
                  <a:pt x="6385" y="10109"/>
                </a:lnTo>
                <a:lnTo>
                  <a:pt x="6482" y="9874"/>
                </a:lnTo>
                <a:lnTo>
                  <a:pt x="6262" y="9492"/>
                </a:lnTo>
                <a:lnTo>
                  <a:pt x="6091" y="9110"/>
                </a:lnTo>
                <a:lnTo>
                  <a:pt x="5846" y="8287"/>
                </a:lnTo>
                <a:lnTo>
                  <a:pt x="5798" y="7905"/>
                </a:lnTo>
                <a:lnTo>
                  <a:pt x="5773" y="7494"/>
                </a:lnTo>
                <a:lnTo>
                  <a:pt x="5773" y="7141"/>
                </a:lnTo>
                <a:lnTo>
                  <a:pt x="5798" y="6789"/>
                </a:lnTo>
                <a:lnTo>
                  <a:pt x="5846" y="6436"/>
                </a:lnTo>
                <a:lnTo>
                  <a:pt x="5920" y="6113"/>
                </a:lnTo>
                <a:lnTo>
                  <a:pt x="6018" y="5819"/>
                </a:lnTo>
                <a:lnTo>
                  <a:pt x="6140" y="5554"/>
                </a:lnTo>
                <a:lnTo>
                  <a:pt x="6067" y="4584"/>
                </a:lnTo>
                <a:lnTo>
                  <a:pt x="6018" y="3438"/>
                </a:lnTo>
                <a:lnTo>
                  <a:pt x="5846" y="3350"/>
                </a:lnTo>
                <a:lnTo>
                  <a:pt x="5626" y="3291"/>
                </a:lnTo>
                <a:lnTo>
                  <a:pt x="5284" y="3262"/>
                </a:lnTo>
                <a:lnTo>
                  <a:pt x="4868" y="3233"/>
                </a:lnTo>
                <a:lnTo>
                  <a:pt x="4550" y="3262"/>
                </a:lnTo>
                <a:lnTo>
                  <a:pt x="4256" y="3321"/>
                </a:lnTo>
                <a:lnTo>
                  <a:pt x="3963" y="3409"/>
                </a:lnTo>
                <a:lnTo>
                  <a:pt x="3718" y="3497"/>
                </a:lnTo>
                <a:lnTo>
                  <a:pt x="3302" y="3703"/>
                </a:lnTo>
                <a:lnTo>
                  <a:pt x="3156" y="3762"/>
                </a:lnTo>
                <a:lnTo>
                  <a:pt x="3009" y="3997"/>
                </a:lnTo>
                <a:lnTo>
                  <a:pt x="2935" y="4173"/>
                </a:lnTo>
                <a:lnTo>
                  <a:pt x="2862" y="4408"/>
                </a:lnTo>
                <a:lnTo>
                  <a:pt x="2789" y="4673"/>
                </a:lnTo>
                <a:lnTo>
                  <a:pt x="2715" y="5025"/>
                </a:lnTo>
                <a:lnTo>
                  <a:pt x="2715" y="5936"/>
                </a:lnTo>
                <a:lnTo>
                  <a:pt x="2764" y="6407"/>
                </a:lnTo>
                <a:lnTo>
                  <a:pt x="2838" y="6906"/>
                </a:lnTo>
                <a:lnTo>
                  <a:pt x="2764" y="6936"/>
                </a:lnTo>
                <a:lnTo>
                  <a:pt x="2691" y="7024"/>
                </a:lnTo>
                <a:lnTo>
                  <a:pt x="2593" y="7259"/>
                </a:lnTo>
                <a:lnTo>
                  <a:pt x="2569" y="7435"/>
                </a:lnTo>
                <a:lnTo>
                  <a:pt x="2569" y="7817"/>
                </a:lnTo>
                <a:lnTo>
                  <a:pt x="2593" y="8023"/>
                </a:lnTo>
                <a:lnTo>
                  <a:pt x="2642" y="8229"/>
                </a:lnTo>
                <a:lnTo>
                  <a:pt x="2789" y="8581"/>
                </a:lnTo>
                <a:lnTo>
                  <a:pt x="2887" y="8728"/>
                </a:lnTo>
                <a:lnTo>
                  <a:pt x="2960" y="8816"/>
                </a:lnTo>
                <a:lnTo>
                  <a:pt x="3058" y="8904"/>
                </a:lnTo>
                <a:lnTo>
                  <a:pt x="3156" y="8934"/>
                </a:lnTo>
                <a:lnTo>
                  <a:pt x="3229" y="8934"/>
                </a:lnTo>
                <a:lnTo>
                  <a:pt x="3253" y="9110"/>
                </a:lnTo>
                <a:lnTo>
                  <a:pt x="3327" y="9492"/>
                </a:lnTo>
                <a:lnTo>
                  <a:pt x="3449" y="9933"/>
                </a:lnTo>
                <a:lnTo>
                  <a:pt x="3523" y="10109"/>
                </a:lnTo>
                <a:lnTo>
                  <a:pt x="3596" y="10256"/>
                </a:lnTo>
                <a:lnTo>
                  <a:pt x="3596" y="11256"/>
                </a:lnTo>
                <a:lnTo>
                  <a:pt x="3571" y="11344"/>
                </a:lnTo>
                <a:lnTo>
                  <a:pt x="3523" y="11461"/>
                </a:lnTo>
                <a:lnTo>
                  <a:pt x="3449" y="11549"/>
                </a:lnTo>
                <a:lnTo>
                  <a:pt x="3351" y="11638"/>
                </a:lnTo>
                <a:lnTo>
                  <a:pt x="3009" y="11843"/>
                </a:lnTo>
                <a:lnTo>
                  <a:pt x="2422" y="12108"/>
                </a:lnTo>
                <a:lnTo>
                  <a:pt x="1688" y="12519"/>
                </a:lnTo>
                <a:lnTo>
                  <a:pt x="1027" y="12931"/>
                </a:lnTo>
                <a:lnTo>
                  <a:pt x="783" y="13107"/>
                </a:lnTo>
                <a:lnTo>
                  <a:pt x="612" y="13254"/>
                </a:lnTo>
                <a:lnTo>
                  <a:pt x="514" y="13371"/>
                </a:lnTo>
                <a:lnTo>
                  <a:pt x="440" y="13489"/>
                </a:lnTo>
                <a:lnTo>
                  <a:pt x="318" y="13783"/>
                </a:lnTo>
                <a:lnTo>
                  <a:pt x="220" y="14136"/>
                </a:lnTo>
                <a:lnTo>
                  <a:pt x="147" y="14459"/>
                </a:lnTo>
                <a:lnTo>
                  <a:pt x="49" y="15076"/>
                </a:lnTo>
                <a:lnTo>
                  <a:pt x="0" y="15429"/>
                </a:lnTo>
                <a:lnTo>
                  <a:pt x="24" y="15517"/>
                </a:lnTo>
                <a:lnTo>
                  <a:pt x="49" y="15576"/>
                </a:lnTo>
                <a:lnTo>
                  <a:pt x="196" y="15693"/>
                </a:lnTo>
                <a:lnTo>
                  <a:pt x="538" y="15781"/>
                </a:lnTo>
                <a:lnTo>
                  <a:pt x="1052" y="15899"/>
                </a:lnTo>
                <a:lnTo>
                  <a:pt x="1761" y="15987"/>
                </a:lnTo>
                <a:lnTo>
                  <a:pt x="2642" y="16104"/>
                </a:lnTo>
                <a:lnTo>
                  <a:pt x="2764" y="15899"/>
                </a:lnTo>
                <a:lnTo>
                  <a:pt x="2887" y="15752"/>
                </a:lnTo>
                <a:lnTo>
                  <a:pt x="3082" y="15546"/>
                </a:lnTo>
                <a:lnTo>
                  <a:pt x="3302" y="15340"/>
                </a:lnTo>
                <a:lnTo>
                  <a:pt x="3914" y="14900"/>
                </a:lnTo>
                <a:lnTo>
                  <a:pt x="4599" y="14459"/>
                </a:lnTo>
                <a:lnTo>
                  <a:pt x="5333" y="14047"/>
                </a:lnTo>
                <a:lnTo>
                  <a:pt x="6605" y="13371"/>
                </a:lnTo>
                <a:lnTo>
                  <a:pt x="7192" y="13078"/>
                </a:lnTo>
                <a:close/>
                <a:moveTo>
                  <a:pt x="13992" y="14312"/>
                </a:moveTo>
                <a:lnTo>
                  <a:pt x="13674" y="14136"/>
                </a:lnTo>
                <a:lnTo>
                  <a:pt x="13430" y="13989"/>
                </a:lnTo>
                <a:lnTo>
                  <a:pt x="13258" y="13812"/>
                </a:lnTo>
                <a:lnTo>
                  <a:pt x="13136" y="13665"/>
                </a:lnTo>
                <a:lnTo>
                  <a:pt x="13063" y="13518"/>
                </a:lnTo>
                <a:lnTo>
                  <a:pt x="13014" y="13224"/>
                </a:lnTo>
                <a:lnTo>
                  <a:pt x="13014" y="11696"/>
                </a:lnTo>
                <a:lnTo>
                  <a:pt x="13087" y="11608"/>
                </a:lnTo>
                <a:lnTo>
                  <a:pt x="13136" y="11461"/>
                </a:lnTo>
                <a:lnTo>
                  <a:pt x="13258" y="11167"/>
                </a:lnTo>
                <a:lnTo>
                  <a:pt x="13356" y="10815"/>
                </a:lnTo>
                <a:lnTo>
                  <a:pt x="13454" y="10433"/>
                </a:lnTo>
                <a:lnTo>
                  <a:pt x="13576" y="9786"/>
                </a:lnTo>
                <a:lnTo>
                  <a:pt x="13625" y="9492"/>
                </a:lnTo>
                <a:lnTo>
                  <a:pt x="13748" y="9492"/>
                </a:lnTo>
                <a:lnTo>
                  <a:pt x="13894" y="9433"/>
                </a:lnTo>
                <a:lnTo>
                  <a:pt x="14041" y="9316"/>
                </a:lnTo>
                <a:lnTo>
                  <a:pt x="14188" y="9140"/>
                </a:lnTo>
                <a:lnTo>
                  <a:pt x="14335" y="8904"/>
                </a:lnTo>
                <a:lnTo>
                  <a:pt x="14457" y="8640"/>
                </a:lnTo>
                <a:lnTo>
                  <a:pt x="14653" y="7993"/>
                </a:lnTo>
                <a:lnTo>
                  <a:pt x="14702" y="7641"/>
                </a:lnTo>
                <a:lnTo>
                  <a:pt x="14726" y="7318"/>
                </a:lnTo>
                <a:lnTo>
                  <a:pt x="14702" y="6994"/>
                </a:lnTo>
                <a:lnTo>
                  <a:pt x="14653" y="6730"/>
                </a:lnTo>
                <a:lnTo>
                  <a:pt x="14579" y="6495"/>
                </a:lnTo>
                <a:lnTo>
                  <a:pt x="14506" y="6289"/>
                </a:lnTo>
                <a:lnTo>
                  <a:pt x="14408" y="6171"/>
                </a:lnTo>
                <a:lnTo>
                  <a:pt x="14286" y="6083"/>
                </a:lnTo>
                <a:lnTo>
                  <a:pt x="14310" y="5760"/>
                </a:lnTo>
                <a:lnTo>
                  <a:pt x="14359" y="4937"/>
                </a:lnTo>
                <a:lnTo>
                  <a:pt x="14433" y="3967"/>
                </a:lnTo>
                <a:lnTo>
                  <a:pt x="14482" y="3144"/>
                </a:lnTo>
                <a:lnTo>
                  <a:pt x="14457" y="2645"/>
                </a:lnTo>
                <a:lnTo>
                  <a:pt x="14408" y="2233"/>
                </a:lnTo>
                <a:lnTo>
                  <a:pt x="14286" y="1851"/>
                </a:lnTo>
                <a:lnTo>
                  <a:pt x="14139" y="1499"/>
                </a:lnTo>
                <a:lnTo>
                  <a:pt x="14041" y="1381"/>
                </a:lnTo>
                <a:lnTo>
                  <a:pt x="13943" y="1234"/>
                </a:lnTo>
                <a:lnTo>
                  <a:pt x="13821" y="1146"/>
                </a:lnTo>
                <a:lnTo>
                  <a:pt x="13528" y="970"/>
                </a:lnTo>
                <a:lnTo>
                  <a:pt x="13381" y="940"/>
                </a:lnTo>
                <a:lnTo>
                  <a:pt x="13210" y="911"/>
                </a:lnTo>
                <a:lnTo>
                  <a:pt x="13014" y="882"/>
                </a:lnTo>
                <a:lnTo>
                  <a:pt x="12769" y="529"/>
                </a:lnTo>
                <a:lnTo>
                  <a:pt x="12598" y="353"/>
                </a:lnTo>
                <a:lnTo>
                  <a:pt x="12378" y="235"/>
                </a:lnTo>
                <a:lnTo>
                  <a:pt x="12133" y="118"/>
                </a:lnTo>
                <a:lnTo>
                  <a:pt x="11815" y="59"/>
                </a:lnTo>
                <a:lnTo>
                  <a:pt x="11448" y="0"/>
                </a:lnTo>
                <a:lnTo>
                  <a:pt x="10788" y="0"/>
                </a:lnTo>
                <a:lnTo>
                  <a:pt x="10568" y="29"/>
                </a:lnTo>
                <a:lnTo>
                  <a:pt x="10152" y="118"/>
                </a:lnTo>
                <a:lnTo>
                  <a:pt x="9760" y="264"/>
                </a:lnTo>
                <a:lnTo>
                  <a:pt x="9418" y="441"/>
                </a:lnTo>
                <a:lnTo>
                  <a:pt x="9051" y="617"/>
                </a:lnTo>
                <a:lnTo>
                  <a:pt x="8708" y="764"/>
                </a:lnTo>
                <a:lnTo>
                  <a:pt x="8293" y="852"/>
                </a:lnTo>
                <a:lnTo>
                  <a:pt x="8097" y="882"/>
                </a:lnTo>
                <a:lnTo>
                  <a:pt x="7877" y="882"/>
                </a:lnTo>
                <a:lnTo>
                  <a:pt x="7681" y="940"/>
                </a:lnTo>
                <a:lnTo>
                  <a:pt x="7608" y="999"/>
                </a:lnTo>
                <a:lnTo>
                  <a:pt x="7510" y="1087"/>
                </a:lnTo>
                <a:lnTo>
                  <a:pt x="7461" y="1176"/>
                </a:lnTo>
                <a:lnTo>
                  <a:pt x="7388" y="1293"/>
                </a:lnTo>
                <a:lnTo>
                  <a:pt x="7290" y="1587"/>
                </a:lnTo>
                <a:lnTo>
                  <a:pt x="7216" y="1910"/>
                </a:lnTo>
                <a:lnTo>
                  <a:pt x="7167" y="2292"/>
                </a:lnTo>
                <a:lnTo>
                  <a:pt x="7143" y="2704"/>
                </a:lnTo>
                <a:lnTo>
                  <a:pt x="7143" y="3115"/>
                </a:lnTo>
                <a:lnTo>
                  <a:pt x="7167" y="4085"/>
                </a:lnTo>
                <a:lnTo>
                  <a:pt x="7241" y="5055"/>
                </a:lnTo>
                <a:lnTo>
                  <a:pt x="7290" y="5789"/>
                </a:lnTo>
                <a:lnTo>
                  <a:pt x="7314" y="6083"/>
                </a:lnTo>
                <a:lnTo>
                  <a:pt x="7192" y="6171"/>
                </a:lnTo>
                <a:lnTo>
                  <a:pt x="7094" y="6289"/>
                </a:lnTo>
                <a:lnTo>
                  <a:pt x="7021" y="6495"/>
                </a:lnTo>
                <a:lnTo>
                  <a:pt x="6947" y="6730"/>
                </a:lnTo>
                <a:lnTo>
                  <a:pt x="6898" y="6994"/>
                </a:lnTo>
                <a:lnTo>
                  <a:pt x="6898" y="7641"/>
                </a:lnTo>
                <a:lnTo>
                  <a:pt x="6947" y="7993"/>
                </a:lnTo>
                <a:lnTo>
                  <a:pt x="7143" y="8640"/>
                </a:lnTo>
                <a:lnTo>
                  <a:pt x="7265" y="8904"/>
                </a:lnTo>
                <a:lnTo>
                  <a:pt x="7412" y="9140"/>
                </a:lnTo>
                <a:lnTo>
                  <a:pt x="7559" y="9316"/>
                </a:lnTo>
                <a:lnTo>
                  <a:pt x="7706" y="9433"/>
                </a:lnTo>
                <a:lnTo>
                  <a:pt x="7852" y="9492"/>
                </a:lnTo>
                <a:lnTo>
                  <a:pt x="7975" y="9492"/>
                </a:lnTo>
                <a:lnTo>
                  <a:pt x="8024" y="9786"/>
                </a:lnTo>
                <a:lnTo>
                  <a:pt x="8146" y="10433"/>
                </a:lnTo>
                <a:lnTo>
                  <a:pt x="8244" y="10815"/>
                </a:lnTo>
                <a:lnTo>
                  <a:pt x="8342" y="11167"/>
                </a:lnTo>
                <a:lnTo>
                  <a:pt x="8464" y="11461"/>
                </a:lnTo>
                <a:lnTo>
                  <a:pt x="8513" y="11608"/>
                </a:lnTo>
                <a:lnTo>
                  <a:pt x="8586" y="11696"/>
                </a:lnTo>
                <a:lnTo>
                  <a:pt x="8586" y="13224"/>
                </a:lnTo>
                <a:lnTo>
                  <a:pt x="8537" y="13518"/>
                </a:lnTo>
                <a:lnTo>
                  <a:pt x="8464" y="13695"/>
                </a:lnTo>
                <a:lnTo>
                  <a:pt x="8342" y="13842"/>
                </a:lnTo>
                <a:lnTo>
                  <a:pt x="8170" y="13989"/>
                </a:lnTo>
                <a:lnTo>
                  <a:pt x="7926" y="14165"/>
                </a:lnTo>
                <a:lnTo>
                  <a:pt x="7608" y="14312"/>
                </a:lnTo>
                <a:lnTo>
                  <a:pt x="6654" y="14811"/>
                </a:lnTo>
                <a:lnTo>
                  <a:pt x="5480" y="15458"/>
                </a:lnTo>
                <a:lnTo>
                  <a:pt x="4892" y="15811"/>
                </a:lnTo>
                <a:lnTo>
                  <a:pt x="4379" y="16134"/>
                </a:lnTo>
                <a:lnTo>
                  <a:pt x="3963" y="16457"/>
                </a:lnTo>
                <a:lnTo>
                  <a:pt x="3792" y="16575"/>
                </a:lnTo>
                <a:lnTo>
                  <a:pt x="3547" y="16869"/>
                </a:lnTo>
                <a:lnTo>
                  <a:pt x="3425" y="17104"/>
                </a:lnTo>
                <a:lnTo>
                  <a:pt x="3327" y="17339"/>
                </a:lnTo>
                <a:lnTo>
                  <a:pt x="3229" y="17603"/>
                </a:lnTo>
                <a:lnTo>
                  <a:pt x="3058" y="18162"/>
                </a:lnTo>
                <a:lnTo>
                  <a:pt x="2911" y="18720"/>
                </a:lnTo>
                <a:lnTo>
                  <a:pt x="2813" y="19278"/>
                </a:lnTo>
                <a:lnTo>
                  <a:pt x="2764" y="19749"/>
                </a:lnTo>
                <a:lnTo>
                  <a:pt x="2715" y="20307"/>
                </a:lnTo>
                <a:lnTo>
                  <a:pt x="2715" y="20454"/>
                </a:lnTo>
                <a:lnTo>
                  <a:pt x="2764" y="20571"/>
                </a:lnTo>
                <a:lnTo>
                  <a:pt x="2862" y="20660"/>
                </a:lnTo>
                <a:lnTo>
                  <a:pt x="3009" y="20748"/>
                </a:lnTo>
                <a:lnTo>
                  <a:pt x="3400" y="20865"/>
                </a:lnTo>
                <a:lnTo>
                  <a:pt x="3963" y="20983"/>
                </a:lnTo>
                <a:lnTo>
                  <a:pt x="4672" y="21130"/>
                </a:lnTo>
                <a:lnTo>
                  <a:pt x="5553" y="21277"/>
                </a:lnTo>
                <a:lnTo>
                  <a:pt x="6629" y="21394"/>
                </a:lnTo>
                <a:lnTo>
                  <a:pt x="7852" y="21512"/>
                </a:lnTo>
                <a:lnTo>
                  <a:pt x="9247" y="21571"/>
                </a:lnTo>
                <a:lnTo>
                  <a:pt x="10812" y="21600"/>
                </a:lnTo>
                <a:lnTo>
                  <a:pt x="12353" y="21571"/>
                </a:lnTo>
                <a:lnTo>
                  <a:pt x="13748" y="21512"/>
                </a:lnTo>
                <a:lnTo>
                  <a:pt x="14971" y="21394"/>
                </a:lnTo>
                <a:lnTo>
                  <a:pt x="16047" y="21277"/>
                </a:lnTo>
                <a:lnTo>
                  <a:pt x="16928" y="21130"/>
                </a:lnTo>
                <a:lnTo>
                  <a:pt x="17662" y="20983"/>
                </a:lnTo>
                <a:lnTo>
                  <a:pt x="18200" y="20865"/>
                </a:lnTo>
                <a:lnTo>
                  <a:pt x="18591" y="20748"/>
                </a:lnTo>
                <a:lnTo>
                  <a:pt x="18738" y="20660"/>
                </a:lnTo>
                <a:lnTo>
                  <a:pt x="18836" y="20571"/>
                </a:lnTo>
                <a:lnTo>
                  <a:pt x="18885" y="20454"/>
                </a:lnTo>
                <a:lnTo>
                  <a:pt x="18885" y="20307"/>
                </a:lnTo>
                <a:lnTo>
                  <a:pt x="18836" y="19749"/>
                </a:lnTo>
                <a:lnTo>
                  <a:pt x="18787" y="19278"/>
                </a:lnTo>
                <a:lnTo>
                  <a:pt x="18689" y="18720"/>
                </a:lnTo>
                <a:lnTo>
                  <a:pt x="18542" y="18162"/>
                </a:lnTo>
                <a:lnTo>
                  <a:pt x="18371" y="17603"/>
                </a:lnTo>
                <a:lnTo>
                  <a:pt x="18273" y="17339"/>
                </a:lnTo>
                <a:lnTo>
                  <a:pt x="18175" y="17104"/>
                </a:lnTo>
                <a:lnTo>
                  <a:pt x="18053" y="16869"/>
                </a:lnTo>
                <a:lnTo>
                  <a:pt x="17808" y="16575"/>
                </a:lnTo>
                <a:lnTo>
                  <a:pt x="17637" y="16457"/>
                </a:lnTo>
                <a:lnTo>
                  <a:pt x="17221" y="16163"/>
                </a:lnTo>
                <a:lnTo>
                  <a:pt x="16708" y="15811"/>
                </a:lnTo>
                <a:lnTo>
                  <a:pt x="16145" y="15487"/>
                </a:lnTo>
                <a:lnTo>
                  <a:pt x="14946" y="14811"/>
                </a:lnTo>
                <a:lnTo>
                  <a:pt x="13992" y="14312"/>
                </a:lnTo>
                <a:close/>
              </a:path>
            </a:pathLst>
          </a:custGeom>
          <a:solidFill>
            <a:srgbClr val="C00000"/>
          </a:solidFill>
          <a:ln w="12700" cap="flat">
            <a:noFill/>
            <a:miter lim="400000"/>
          </a:ln>
          <a:effectLst/>
        </p:spPr>
        <p:txBody>
          <a:bodyPr wrap="square" lIns="45712" tIns="45712" rIns="45712" bIns="45712" numCol="1" anchor="t">
            <a:noAutofit/>
          </a:bodyPr>
          <a:lstStyle/>
          <a:p>
            <a:pPr defTabSz="914112">
              <a:defRPr>
                <a:latin typeface="微软雅黑"/>
                <a:ea typeface="微软雅黑"/>
                <a:cs typeface="微软雅黑"/>
                <a:sym typeface="微软雅黑"/>
              </a:defRPr>
            </a:pPr>
            <a:endParaRPr sz="1799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  <a:sym typeface="微软雅黑" panose="020B0503020204020204" pitchFamily="34" charset="-122"/>
            </a:endParaRPr>
          </a:p>
        </p:txBody>
      </p:sp>
      <p:sp>
        <p:nvSpPr>
          <p:cNvPr id="58" name="Freeform 5"/>
          <p:cNvSpPr/>
          <p:nvPr/>
        </p:nvSpPr>
        <p:spPr>
          <a:xfrm>
            <a:off x="5349262" y="2624484"/>
            <a:ext cx="278506" cy="3153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26" y="6336"/>
                </a:moveTo>
                <a:lnTo>
                  <a:pt x="2063" y="5667"/>
                </a:lnTo>
                <a:lnTo>
                  <a:pt x="2101" y="5333"/>
                </a:lnTo>
                <a:lnTo>
                  <a:pt x="2158" y="5015"/>
                </a:lnTo>
                <a:lnTo>
                  <a:pt x="2215" y="4681"/>
                </a:lnTo>
                <a:lnTo>
                  <a:pt x="2404" y="4046"/>
                </a:lnTo>
                <a:lnTo>
                  <a:pt x="2518" y="3745"/>
                </a:lnTo>
                <a:lnTo>
                  <a:pt x="2650" y="3427"/>
                </a:lnTo>
                <a:lnTo>
                  <a:pt x="2802" y="3126"/>
                </a:lnTo>
                <a:lnTo>
                  <a:pt x="2972" y="2842"/>
                </a:lnTo>
                <a:lnTo>
                  <a:pt x="3143" y="2541"/>
                </a:lnTo>
                <a:lnTo>
                  <a:pt x="3332" y="2257"/>
                </a:lnTo>
                <a:lnTo>
                  <a:pt x="3748" y="1722"/>
                </a:lnTo>
                <a:lnTo>
                  <a:pt x="3994" y="1454"/>
                </a:lnTo>
                <a:lnTo>
                  <a:pt x="4108" y="1304"/>
                </a:lnTo>
                <a:lnTo>
                  <a:pt x="4165" y="1137"/>
                </a:lnTo>
                <a:lnTo>
                  <a:pt x="4203" y="970"/>
                </a:lnTo>
                <a:lnTo>
                  <a:pt x="4203" y="802"/>
                </a:lnTo>
                <a:lnTo>
                  <a:pt x="4165" y="619"/>
                </a:lnTo>
                <a:lnTo>
                  <a:pt x="4089" y="468"/>
                </a:lnTo>
                <a:lnTo>
                  <a:pt x="3994" y="318"/>
                </a:lnTo>
                <a:lnTo>
                  <a:pt x="3843" y="201"/>
                </a:lnTo>
                <a:lnTo>
                  <a:pt x="3673" y="100"/>
                </a:lnTo>
                <a:lnTo>
                  <a:pt x="3483" y="33"/>
                </a:lnTo>
                <a:lnTo>
                  <a:pt x="3294" y="0"/>
                </a:lnTo>
                <a:lnTo>
                  <a:pt x="3105" y="0"/>
                </a:lnTo>
                <a:lnTo>
                  <a:pt x="2915" y="33"/>
                </a:lnTo>
                <a:lnTo>
                  <a:pt x="2726" y="100"/>
                </a:lnTo>
                <a:lnTo>
                  <a:pt x="2556" y="201"/>
                </a:lnTo>
                <a:lnTo>
                  <a:pt x="2423" y="318"/>
                </a:lnTo>
                <a:lnTo>
                  <a:pt x="2139" y="652"/>
                </a:lnTo>
                <a:lnTo>
                  <a:pt x="1874" y="970"/>
                </a:lnTo>
                <a:lnTo>
                  <a:pt x="1609" y="1321"/>
                </a:lnTo>
                <a:lnTo>
                  <a:pt x="1382" y="1672"/>
                </a:lnTo>
                <a:lnTo>
                  <a:pt x="1174" y="2023"/>
                </a:lnTo>
                <a:lnTo>
                  <a:pt x="965" y="2391"/>
                </a:lnTo>
                <a:lnTo>
                  <a:pt x="795" y="2759"/>
                </a:lnTo>
                <a:lnTo>
                  <a:pt x="625" y="3143"/>
                </a:lnTo>
                <a:lnTo>
                  <a:pt x="473" y="3528"/>
                </a:lnTo>
                <a:lnTo>
                  <a:pt x="360" y="3912"/>
                </a:lnTo>
                <a:lnTo>
                  <a:pt x="246" y="4313"/>
                </a:lnTo>
                <a:lnTo>
                  <a:pt x="151" y="4715"/>
                </a:lnTo>
                <a:lnTo>
                  <a:pt x="38" y="5517"/>
                </a:lnTo>
                <a:lnTo>
                  <a:pt x="19" y="5918"/>
                </a:lnTo>
                <a:lnTo>
                  <a:pt x="0" y="6336"/>
                </a:lnTo>
                <a:lnTo>
                  <a:pt x="19" y="6737"/>
                </a:lnTo>
                <a:lnTo>
                  <a:pt x="38" y="7155"/>
                </a:lnTo>
                <a:lnTo>
                  <a:pt x="151" y="7958"/>
                </a:lnTo>
                <a:lnTo>
                  <a:pt x="246" y="8359"/>
                </a:lnTo>
                <a:lnTo>
                  <a:pt x="360" y="8760"/>
                </a:lnTo>
                <a:lnTo>
                  <a:pt x="473" y="9145"/>
                </a:lnTo>
                <a:lnTo>
                  <a:pt x="625" y="9529"/>
                </a:lnTo>
                <a:lnTo>
                  <a:pt x="795" y="9914"/>
                </a:lnTo>
                <a:lnTo>
                  <a:pt x="965" y="10282"/>
                </a:lnTo>
                <a:lnTo>
                  <a:pt x="1174" y="10650"/>
                </a:lnTo>
                <a:lnTo>
                  <a:pt x="1382" y="11001"/>
                </a:lnTo>
                <a:lnTo>
                  <a:pt x="1609" y="11352"/>
                </a:lnTo>
                <a:lnTo>
                  <a:pt x="1874" y="11703"/>
                </a:lnTo>
                <a:lnTo>
                  <a:pt x="2139" y="12037"/>
                </a:lnTo>
                <a:lnTo>
                  <a:pt x="2423" y="12355"/>
                </a:lnTo>
                <a:lnTo>
                  <a:pt x="2499" y="12422"/>
                </a:lnTo>
                <a:lnTo>
                  <a:pt x="2594" y="12489"/>
                </a:lnTo>
                <a:lnTo>
                  <a:pt x="2669" y="12555"/>
                </a:lnTo>
                <a:lnTo>
                  <a:pt x="2783" y="12606"/>
                </a:lnTo>
                <a:lnTo>
                  <a:pt x="2877" y="12639"/>
                </a:lnTo>
                <a:lnTo>
                  <a:pt x="2991" y="12656"/>
                </a:lnTo>
                <a:lnTo>
                  <a:pt x="3086" y="12672"/>
                </a:lnTo>
                <a:lnTo>
                  <a:pt x="3199" y="12689"/>
                </a:lnTo>
                <a:lnTo>
                  <a:pt x="3370" y="12672"/>
                </a:lnTo>
                <a:lnTo>
                  <a:pt x="3540" y="12639"/>
                </a:lnTo>
                <a:lnTo>
                  <a:pt x="3691" y="12572"/>
                </a:lnTo>
                <a:lnTo>
                  <a:pt x="3843" y="12472"/>
                </a:lnTo>
                <a:lnTo>
                  <a:pt x="3994" y="12355"/>
                </a:lnTo>
                <a:lnTo>
                  <a:pt x="4108" y="12204"/>
                </a:lnTo>
                <a:lnTo>
                  <a:pt x="4165" y="12054"/>
                </a:lnTo>
                <a:lnTo>
                  <a:pt x="4203" y="11870"/>
                </a:lnTo>
                <a:lnTo>
                  <a:pt x="4222" y="11703"/>
                </a:lnTo>
                <a:lnTo>
                  <a:pt x="4184" y="11536"/>
                </a:lnTo>
                <a:lnTo>
                  <a:pt x="4108" y="11368"/>
                </a:lnTo>
                <a:lnTo>
                  <a:pt x="3994" y="11218"/>
                </a:lnTo>
                <a:lnTo>
                  <a:pt x="3767" y="10967"/>
                </a:lnTo>
                <a:lnTo>
                  <a:pt x="3540" y="10683"/>
                </a:lnTo>
                <a:lnTo>
                  <a:pt x="3332" y="10415"/>
                </a:lnTo>
                <a:lnTo>
                  <a:pt x="3143" y="10131"/>
                </a:lnTo>
                <a:lnTo>
                  <a:pt x="2972" y="9847"/>
                </a:lnTo>
                <a:lnTo>
                  <a:pt x="2669" y="9245"/>
                </a:lnTo>
                <a:lnTo>
                  <a:pt x="2537" y="8928"/>
                </a:lnTo>
                <a:lnTo>
                  <a:pt x="2423" y="8627"/>
                </a:lnTo>
                <a:lnTo>
                  <a:pt x="2310" y="8309"/>
                </a:lnTo>
                <a:lnTo>
                  <a:pt x="2234" y="7975"/>
                </a:lnTo>
                <a:lnTo>
                  <a:pt x="2158" y="7657"/>
                </a:lnTo>
                <a:lnTo>
                  <a:pt x="2101" y="7323"/>
                </a:lnTo>
                <a:lnTo>
                  <a:pt x="2063" y="7005"/>
                </a:lnTo>
                <a:lnTo>
                  <a:pt x="2026" y="6336"/>
                </a:lnTo>
                <a:close/>
                <a:moveTo>
                  <a:pt x="6285" y="9964"/>
                </a:moveTo>
                <a:lnTo>
                  <a:pt x="6436" y="9947"/>
                </a:lnTo>
                <a:lnTo>
                  <a:pt x="6588" y="9914"/>
                </a:lnTo>
                <a:lnTo>
                  <a:pt x="6720" y="9864"/>
                </a:lnTo>
                <a:lnTo>
                  <a:pt x="6872" y="9797"/>
                </a:lnTo>
                <a:lnTo>
                  <a:pt x="7023" y="9680"/>
                </a:lnTo>
                <a:lnTo>
                  <a:pt x="7137" y="9546"/>
                </a:lnTo>
                <a:lnTo>
                  <a:pt x="7232" y="9396"/>
                </a:lnTo>
                <a:lnTo>
                  <a:pt x="7288" y="9228"/>
                </a:lnTo>
                <a:lnTo>
                  <a:pt x="7307" y="9061"/>
                </a:lnTo>
                <a:lnTo>
                  <a:pt x="7288" y="8894"/>
                </a:lnTo>
                <a:lnTo>
                  <a:pt x="7232" y="8710"/>
                </a:lnTo>
                <a:lnTo>
                  <a:pt x="7118" y="8560"/>
                </a:lnTo>
                <a:lnTo>
                  <a:pt x="6948" y="8309"/>
                </a:lnTo>
                <a:lnTo>
                  <a:pt x="6796" y="8041"/>
                </a:lnTo>
                <a:lnTo>
                  <a:pt x="6664" y="7774"/>
                </a:lnTo>
                <a:lnTo>
                  <a:pt x="6550" y="7507"/>
                </a:lnTo>
                <a:lnTo>
                  <a:pt x="6455" y="7222"/>
                </a:lnTo>
                <a:lnTo>
                  <a:pt x="6399" y="6921"/>
                </a:lnTo>
                <a:lnTo>
                  <a:pt x="6361" y="6637"/>
                </a:lnTo>
                <a:lnTo>
                  <a:pt x="6342" y="6336"/>
                </a:lnTo>
                <a:lnTo>
                  <a:pt x="6361" y="6035"/>
                </a:lnTo>
                <a:lnTo>
                  <a:pt x="6399" y="5751"/>
                </a:lnTo>
                <a:lnTo>
                  <a:pt x="6455" y="5450"/>
                </a:lnTo>
                <a:lnTo>
                  <a:pt x="6550" y="5166"/>
                </a:lnTo>
                <a:lnTo>
                  <a:pt x="6664" y="4898"/>
                </a:lnTo>
                <a:lnTo>
                  <a:pt x="6796" y="4631"/>
                </a:lnTo>
                <a:lnTo>
                  <a:pt x="6948" y="4363"/>
                </a:lnTo>
                <a:lnTo>
                  <a:pt x="7118" y="4113"/>
                </a:lnTo>
                <a:lnTo>
                  <a:pt x="7232" y="3962"/>
                </a:lnTo>
                <a:lnTo>
                  <a:pt x="7288" y="3795"/>
                </a:lnTo>
                <a:lnTo>
                  <a:pt x="7307" y="3611"/>
                </a:lnTo>
                <a:lnTo>
                  <a:pt x="7288" y="3444"/>
                </a:lnTo>
                <a:lnTo>
                  <a:pt x="7232" y="3277"/>
                </a:lnTo>
                <a:lnTo>
                  <a:pt x="7137" y="3126"/>
                </a:lnTo>
                <a:lnTo>
                  <a:pt x="7023" y="2993"/>
                </a:lnTo>
                <a:lnTo>
                  <a:pt x="6853" y="2876"/>
                </a:lnTo>
                <a:lnTo>
                  <a:pt x="6683" y="2792"/>
                </a:lnTo>
                <a:lnTo>
                  <a:pt x="6493" y="2725"/>
                </a:lnTo>
                <a:lnTo>
                  <a:pt x="6304" y="2708"/>
                </a:lnTo>
                <a:lnTo>
                  <a:pt x="6096" y="2725"/>
                </a:lnTo>
                <a:lnTo>
                  <a:pt x="5925" y="2775"/>
                </a:lnTo>
                <a:lnTo>
                  <a:pt x="5736" y="2859"/>
                </a:lnTo>
                <a:lnTo>
                  <a:pt x="5585" y="2959"/>
                </a:lnTo>
                <a:lnTo>
                  <a:pt x="5452" y="3110"/>
                </a:lnTo>
                <a:lnTo>
                  <a:pt x="5187" y="3461"/>
                </a:lnTo>
                <a:lnTo>
                  <a:pt x="4960" y="3845"/>
                </a:lnTo>
                <a:lnTo>
                  <a:pt x="4771" y="4246"/>
                </a:lnTo>
                <a:lnTo>
                  <a:pt x="4619" y="4648"/>
                </a:lnTo>
                <a:lnTo>
                  <a:pt x="4487" y="5049"/>
                </a:lnTo>
                <a:lnTo>
                  <a:pt x="4392" y="5467"/>
                </a:lnTo>
                <a:lnTo>
                  <a:pt x="4335" y="5902"/>
                </a:lnTo>
                <a:lnTo>
                  <a:pt x="4316" y="6336"/>
                </a:lnTo>
                <a:lnTo>
                  <a:pt x="4335" y="6771"/>
                </a:lnTo>
                <a:lnTo>
                  <a:pt x="4392" y="7189"/>
                </a:lnTo>
                <a:lnTo>
                  <a:pt x="4487" y="7624"/>
                </a:lnTo>
                <a:lnTo>
                  <a:pt x="4619" y="8025"/>
                </a:lnTo>
                <a:lnTo>
                  <a:pt x="4771" y="8426"/>
                </a:lnTo>
                <a:lnTo>
                  <a:pt x="4960" y="8827"/>
                </a:lnTo>
                <a:lnTo>
                  <a:pt x="5187" y="9212"/>
                </a:lnTo>
                <a:lnTo>
                  <a:pt x="5528" y="9663"/>
                </a:lnTo>
                <a:lnTo>
                  <a:pt x="5717" y="9797"/>
                </a:lnTo>
                <a:lnTo>
                  <a:pt x="5831" y="9864"/>
                </a:lnTo>
                <a:lnTo>
                  <a:pt x="6058" y="9931"/>
                </a:lnTo>
                <a:lnTo>
                  <a:pt x="6285" y="9964"/>
                </a:lnTo>
                <a:close/>
                <a:moveTo>
                  <a:pt x="10809" y="8242"/>
                </a:moveTo>
                <a:lnTo>
                  <a:pt x="11018" y="8242"/>
                </a:lnTo>
                <a:lnTo>
                  <a:pt x="11245" y="8209"/>
                </a:lnTo>
                <a:lnTo>
                  <a:pt x="11453" y="8159"/>
                </a:lnTo>
                <a:lnTo>
                  <a:pt x="11642" y="8092"/>
                </a:lnTo>
                <a:lnTo>
                  <a:pt x="12021" y="7924"/>
                </a:lnTo>
                <a:lnTo>
                  <a:pt x="12324" y="7690"/>
                </a:lnTo>
                <a:lnTo>
                  <a:pt x="12475" y="7557"/>
                </a:lnTo>
                <a:lnTo>
                  <a:pt x="12589" y="7406"/>
                </a:lnTo>
                <a:lnTo>
                  <a:pt x="12703" y="7239"/>
                </a:lnTo>
                <a:lnTo>
                  <a:pt x="12797" y="7072"/>
                </a:lnTo>
                <a:lnTo>
                  <a:pt x="12873" y="6905"/>
                </a:lnTo>
                <a:lnTo>
                  <a:pt x="12930" y="6721"/>
                </a:lnTo>
                <a:lnTo>
                  <a:pt x="12949" y="6537"/>
                </a:lnTo>
                <a:lnTo>
                  <a:pt x="12968" y="6336"/>
                </a:lnTo>
                <a:lnTo>
                  <a:pt x="12949" y="6136"/>
                </a:lnTo>
                <a:lnTo>
                  <a:pt x="12930" y="5952"/>
                </a:lnTo>
                <a:lnTo>
                  <a:pt x="12873" y="5768"/>
                </a:lnTo>
                <a:lnTo>
                  <a:pt x="12797" y="5601"/>
                </a:lnTo>
                <a:lnTo>
                  <a:pt x="12703" y="5433"/>
                </a:lnTo>
                <a:lnTo>
                  <a:pt x="12589" y="5266"/>
                </a:lnTo>
                <a:lnTo>
                  <a:pt x="12475" y="5116"/>
                </a:lnTo>
                <a:lnTo>
                  <a:pt x="12324" y="4982"/>
                </a:lnTo>
                <a:lnTo>
                  <a:pt x="12021" y="4748"/>
                </a:lnTo>
                <a:lnTo>
                  <a:pt x="11642" y="4581"/>
                </a:lnTo>
                <a:lnTo>
                  <a:pt x="11453" y="4514"/>
                </a:lnTo>
                <a:lnTo>
                  <a:pt x="11245" y="4464"/>
                </a:lnTo>
                <a:lnTo>
                  <a:pt x="11018" y="4430"/>
                </a:lnTo>
                <a:lnTo>
                  <a:pt x="10582" y="4430"/>
                </a:lnTo>
                <a:lnTo>
                  <a:pt x="10374" y="4464"/>
                </a:lnTo>
                <a:lnTo>
                  <a:pt x="10166" y="4514"/>
                </a:lnTo>
                <a:lnTo>
                  <a:pt x="9958" y="4581"/>
                </a:lnTo>
                <a:lnTo>
                  <a:pt x="9768" y="4664"/>
                </a:lnTo>
                <a:lnTo>
                  <a:pt x="9598" y="4748"/>
                </a:lnTo>
                <a:lnTo>
                  <a:pt x="9428" y="4865"/>
                </a:lnTo>
                <a:lnTo>
                  <a:pt x="9276" y="4982"/>
                </a:lnTo>
                <a:lnTo>
                  <a:pt x="9144" y="5116"/>
                </a:lnTo>
                <a:lnTo>
                  <a:pt x="9011" y="5266"/>
                </a:lnTo>
                <a:lnTo>
                  <a:pt x="8897" y="5433"/>
                </a:lnTo>
                <a:lnTo>
                  <a:pt x="8746" y="5768"/>
                </a:lnTo>
                <a:lnTo>
                  <a:pt x="8689" y="5952"/>
                </a:lnTo>
                <a:lnTo>
                  <a:pt x="8651" y="6136"/>
                </a:lnTo>
                <a:lnTo>
                  <a:pt x="8651" y="6537"/>
                </a:lnTo>
                <a:lnTo>
                  <a:pt x="8689" y="6721"/>
                </a:lnTo>
                <a:lnTo>
                  <a:pt x="8746" y="6905"/>
                </a:lnTo>
                <a:lnTo>
                  <a:pt x="8897" y="7239"/>
                </a:lnTo>
                <a:lnTo>
                  <a:pt x="9011" y="7406"/>
                </a:lnTo>
                <a:lnTo>
                  <a:pt x="9144" y="7557"/>
                </a:lnTo>
                <a:lnTo>
                  <a:pt x="9276" y="7690"/>
                </a:lnTo>
                <a:lnTo>
                  <a:pt x="9428" y="7807"/>
                </a:lnTo>
                <a:lnTo>
                  <a:pt x="9598" y="7924"/>
                </a:lnTo>
                <a:lnTo>
                  <a:pt x="9768" y="8008"/>
                </a:lnTo>
                <a:lnTo>
                  <a:pt x="9958" y="8092"/>
                </a:lnTo>
                <a:lnTo>
                  <a:pt x="10166" y="8159"/>
                </a:lnTo>
                <a:lnTo>
                  <a:pt x="10374" y="8209"/>
                </a:lnTo>
                <a:lnTo>
                  <a:pt x="10582" y="8242"/>
                </a:lnTo>
                <a:lnTo>
                  <a:pt x="10809" y="8242"/>
                </a:lnTo>
                <a:close/>
                <a:moveTo>
                  <a:pt x="19196" y="318"/>
                </a:moveTo>
                <a:lnTo>
                  <a:pt x="19044" y="201"/>
                </a:lnTo>
                <a:lnTo>
                  <a:pt x="18874" y="100"/>
                </a:lnTo>
                <a:lnTo>
                  <a:pt x="18704" y="33"/>
                </a:lnTo>
                <a:lnTo>
                  <a:pt x="18514" y="0"/>
                </a:lnTo>
                <a:lnTo>
                  <a:pt x="18325" y="0"/>
                </a:lnTo>
                <a:lnTo>
                  <a:pt x="18117" y="33"/>
                </a:lnTo>
                <a:lnTo>
                  <a:pt x="17946" y="100"/>
                </a:lnTo>
                <a:lnTo>
                  <a:pt x="17776" y="201"/>
                </a:lnTo>
                <a:lnTo>
                  <a:pt x="17625" y="318"/>
                </a:lnTo>
                <a:lnTo>
                  <a:pt x="17511" y="468"/>
                </a:lnTo>
                <a:lnTo>
                  <a:pt x="17435" y="619"/>
                </a:lnTo>
                <a:lnTo>
                  <a:pt x="17397" y="802"/>
                </a:lnTo>
                <a:lnTo>
                  <a:pt x="17397" y="970"/>
                </a:lnTo>
                <a:lnTo>
                  <a:pt x="17435" y="1137"/>
                </a:lnTo>
                <a:lnTo>
                  <a:pt x="17511" y="1304"/>
                </a:lnTo>
                <a:lnTo>
                  <a:pt x="17625" y="1454"/>
                </a:lnTo>
                <a:lnTo>
                  <a:pt x="18079" y="1989"/>
                </a:lnTo>
                <a:lnTo>
                  <a:pt x="18287" y="2257"/>
                </a:lnTo>
                <a:lnTo>
                  <a:pt x="18476" y="2541"/>
                </a:lnTo>
                <a:lnTo>
                  <a:pt x="18647" y="2842"/>
                </a:lnTo>
                <a:lnTo>
                  <a:pt x="18798" y="3126"/>
                </a:lnTo>
                <a:lnTo>
                  <a:pt x="18950" y="3427"/>
                </a:lnTo>
                <a:lnTo>
                  <a:pt x="19082" y="3745"/>
                </a:lnTo>
                <a:lnTo>
                  <a:pt x="19196" y="4046"/>
                </a:lnTo>
                <a:lnTo>
                  <a:pt x="19385" y="4681"/>
                </a:lnTo>
                <a:lnTo>
                  <a:pt x="19461" y="5015"/>
                </a:lnTo>
                <a:lnTo>
                  <a:pt x="19518" y="5333"/>
                </a:lnTo>
                <a:lnTo>
                  <a:pt x="19555" y="5667"/>
                </a:lnTo>
                <a:lnTo>
                  <a:pt x="19574" y="6002"/>
                </a:lnTo>
                <a:lnTo>
                  <a:pt x="19574" y="6671"/>
                </a:lnTo>
                <a:lnTo>
                  <a:pt x="19555" y="7005"/>
                </a:lnTo>
                <a:lnTo>
                  <a:pt x="19518" y="7323"/>
                </a:lnTo>
                <a:lnTo>
                  <a:pt x="19461" y="7657"/>
                </a:lnTo>
                <a:lnTo>
                  <a:pt x="19385" y="7975"/>
                </a:lnTo>
                <a:lnTo>
                  <a:pt x="19290" y="8309"/>
                </a:lnTo>
                <a:lnTo>
                  <a:pt x="19196" y="8627"/>
                </a:lnTo>
                <a:lnTo>
                  <a:pt x="19082" y="8928"/>
                </a:lnTo>
                <a:lnTo>
                  <a:pt x="18950" y="9245"/>
                </a:lnTo>
                <a:lnTo>
                  <a:pt x="18798" y="9546"/>
                </a:lnTo>
                <a:lnTo>
                  <a:pt x="18628" y="9847"/>
                </a:lnTo>
                <a:lnTo>
                  <a:pt x="18457" y="10131"/>
                </a:lnTo>
                <a:lnTo>
                  <a:pt x="18268" y="10415"/>
                </a:lnTo>
                <a:lnTo>
                  <a:pt x="18060" y="10683"/>
                </a:lnTo>
                <a:lnTo>
                  <a:pt x="17852" y="10967"/>
                </a:lnTo>
                <a:lnTo>
                  <a:pt x="17625" y="11218"/>
                </a:lnTo>
                <a:lnTo>
                  <a:pt x="17511" y="11368"/>
                </a:lnTo>
                <a:lnTo>
                  <a:pt x="17435" y="11536"/>
                </a:lnTo>
                <a:lnTo>
                  <a:pt x="17397" y="11703"/>
                </a:lnTo>
                <a:lnTo>
                  <a:pt x="17397" y="11870"/>
                </a:lnTo>
                <a:lnTo>
                  <a:pt x="17435" y="12054"/>
                </a:lnTo>
                <a:lnTo>
                  <a:pt x="17511" y="12204"/>
                </a:lnTo>
                <a:lnTo>
                  <a:pt x="17625" y="12355"/>
                </a:lnTo>
                <a:lnTo>
                  <a:pt x="17757" y="12472"/>
                </a:lnTo>
                <a:lnTo>
                  <a:pt x="17909" y="12572"/>
                </a:lnTo>
                <a:lnTo>
                  <a:pt x="18079" y="12639"/>
                </a:lnTo>
                <a:lnTo>
                  <a:pt x="18230" y="12672"/>
                </a:lnTo>
                <a:lnTo>
                  <a:pt x="18401" y="12689"/>
                </a:lnTo>
                <a:lnTo>
                  <a:pt x="18628" y="12656"/>
                </a:lnTo>
                <a:lnTo>
                  <a:pt x="18723" y="12639"/>
                </a:lnTo>
                <a:lnTo>
                  <a:pt x="18836" y="12606"/>
                </a:lnTo>
                <a:lnTo>
                  <a:pt x="18931" y="12555"/>
                </a:lnTo>
                <a:lnTo>
                  <a:pt x="19120" y="12422"/>
                </a:lnTo>
                <a:lnTo>
                  <a:pt x="19196" y="12355"/>
                </a:lnTo>
                <a:lnTo>
                  <a:pt x="19480" y="12037"/>
                </a:lnTo>
                <a:lnTo>
                  <a:pt x="19745" y="11703"/>
                </a:lnTo>
                <a:lnTo>
                  <a:pt x="19991" y="11352"/>
                </a:lnTo>
                <a:lnTo>
                  <a:pt x="20445" y="10650"/>
                </a:lnTo>
                <a:lnTo>
                  <a:pt x="20824" y="9914"/>
                </a:lnTo>
                <a:lnTo>
                  <a:pt x="21127" y="9145"/>
                </a:lnTo>
                <a:lnTo>
                  <a:pt x="21259" y="8760"/>
                </a:lnTo>
                <a:lnTo>
                  <a:pt x="21449" y="7958"/>
                </a:lnTo>
                <a:lnTo>
                  <a:pt x="21524" y="7557"/>
                </a:lnTo>
                <a:lnTo>
                  <a:pt x="21562" y="7155"/>
                </a:lnTo>
                <a:lnTo>
                  <a:pt x="21600" y="6737"/>
                </a:lnTo>
                <a:lnTo>
                  <a:pt x="21600" y="5918"/>
                </a:lnTo>
                <a:lnTo>
                  <a:pt x="21524" y="5116"/>
                </a:lnTo>
                <a:lnTo>
                  <a:pt x="21449" y="4715"/>
                </a:lnTo>
                <a:lnTo>
                  <a:pt x="21259" y="3912"/>
                </a:lnTo>
                <a:lnTo>
                  <a:pt x="21127" y="3528"/>
                </a:lnTo>
                <a:lnTo>
                  <a:pt x="20824" y="2759"/>
                </a:lnTo>
                <a:lnTo>
                  <a:pt x="20445" y="2023"/>
                </a:lnTo>
                <a:lnTo>
                  <a:pt x="19991" y="1321"/>
                </a:lnTo>
                <a:lnTo>
                  <a:pt x="19745" y="970"/>
                </a:lnTo>
                <a:lnTo>
                  <a:pt x="19480" y="652"/>
                </a:lnTo>
                <a:lnTo>
                  <a:pt x="19196" y="318"/>
                </a:lnTo>
                <a:close/>
                <a:moveTo>
                  <a:pt x="14747" y="2876"/>
                </a:moveTo>
                <a:lnTo>
                  <a:pt x="14596" y="2993"/>
                </a:lnTo>
                <a:lnTo>
                  <a:pt x="14463" y="3126"/>
                </a:lnTo>
                <a:lnTo>
                  <a:pt x="14368" y="3277"/>
                </a:lnTo>
                <a:lnTo>
                  <a:pt x="14331" y="3444"/>
                </a:lnTo>
                <a:lnTo>
                  <a:pt x="14312" y="3611"/>
                </a:lnTo>
                <a:lnTo>
                  <a:pt x="14331" y="3795"/>
                </a:lnTo>
                <a:lnTo>
                  <a:pt x="14387" y="3962"/>
                </a:lnTo>
                <a:lnTo>
                  <a:pt x="14482" y="4113"/>
                </a:lnTo>
                <a:lnTo>
                  <a:pt x="14671" y="4363"/>
                </a:lnTo>
                <a:lnTo>
                  <a:pt x="14823" y="4631"/>
                </a:lnTo>
                <a:lnTo>
                  <a:pt x="14955" y="4898"/>
                </a:lnTo>
                <a:lnTo>
                  <a:pt x="15069" y="5166"/>
                </a:lnTo>
                <a:lnTo>
                  <a:pt x="15145" y="5450"/>
                </a:lnTo>
                <a:lnTo>
                  <a:pt x="15201" y="5751"/>
                </a:lnTo>
                <a:lnTo>
                  <a:pt x="15239" y="6035"/>
                </a:lnTo>
                <a:lnTo>
                  <a:pt x="15258" y="6336"/>
                </a:lnTo>
                <a:lnTo>
                  <a:pt x="15239" y="6637"/>
                </a:lnTo>
                <a:lnTo>
                  <a:pt x="15201" y="6921"/>
                </a:lnTo>
                <a:lnTo>
                  <a:pt x="15145" y="7222"/>
                </a:lnTo>
                <a:lnTo>
                  <a:pt x="15069" y="7507"/>
                </a:lnTo>
                <a:lnTo>
                  <a:pt x="14955" y="7774"/>
                </a:lnTo>
                <a:lnTo>
                  <a:pt x="14823" y="8041"/>
                </a:lnTo>
                <a:lnTo>
                  <a:pt x="14652" y="8309"/>
                </a:lnTo>
                <a:lnTo>
                  <a:pt x="14482" y="8560"/>
                </a:lnTo>
                <a:lnTo>
                  <a:pt x="14387" y="8710"/>
                </a:lnTo>
                <a:lnTo>
                  <a:pt x="14331" y="8894"/>
                </a:lnTo>
                <a:lnTo>
                  <a:pt x="14312" y="9061"/>
                </a:lnTo>
                <a:lnTo>
                  <a:pt x="14331" y="9228"/>
                </a:lnTo>
                <a:lnTo>
                  <a:pt x="14368" y="9396"/>
                </a:lnTo>
                <a:lnTo>
                  <a:pt x="14463" y="9546"/>
                </a:lnTo>
                <a:lnTo>
                  <a:pt x="14596" y="9680"/>
                </a:lnTo>
                <a:lnTo>
                  <a:pt x="14747" y="9797"/>
                </a:lnTo>
                <a:lnTo>
                  <a:pt x="14880" y="9864"/>
                </a:lnTo>
                <a:lnTo>
                  <a:pt x="15031" y="9914"/>
                </a:lnTo>
                <a:lnTo>
                  <a:pt x="15164" y="9947"/>
                </a:lnTo>
                <a:lnTo>
                  <a:pt x="15315" y="9964"/>
                </a:lnTo>
                <a:lnTo>
                  <a:pt x="15429" y="9947"/>
                </a:lnTo>
                <a:lnTo>
                  <a:pt x="15561" y="9931"/>
                </a:lnTo>
                <a:lnTo>
                  <a:pt x="15788" y="9864"/>
                </a:lnTo>
                <a:lnTo>
                  <a:pt x="16072" y="9663"/>
                </a:lnTo>
                <a:lnTo>
                  <a:pt x="16413" y="9212"/>
                </a:lnTo>
                <a:lnTo>
                  <a:pt x="16640" y="8827"/>
                </a:lnTo>
                <a:lnTo>
                  <a:pt x="16829" y="8426"/>
                </a:lnTo>
                <a:lnTo>
                  <a:pt x="17000" y="8025"/>
                </a:lnTo>
                <a:lnTo>
                  <a:pt x="17113" y="7624"/>
                </a:lnTo>
                <a:lnTo>
                  <a:pt x="17208" y="7189"/>
                </a:lnTo>
                <a:lnTo>
                  <a:pt x="17265" y="6771"/>
                </a:lnTo>
                <a:lnTo>
                  <a:pt x="17284" y="6336"/>
                </a:lnTo>
                <a:lnTo>
                  <a:pt x="17265" y="5902"/>
                </a:lnTo>
                <a:lnTo>
                  <a:pt x="17208" y="5467"/>
                </a:lnTo>
                <a:lnTo>
                  <a:pt x="17132" y="5049"/>
                </a:lnTo>
                <a:lnTo>
                  <a:pt x="17000" y="4648"/>
                </a:lnTo>
                <a:lnTo>
                  <a:pt x="16829" y="4246"/>
                </a:lnTo>
                <a:lnTo>
                  <a:pt x="16640" y="3845"/>
                </a:lnTo>
                <a:lnTo>
                  <a:pt x="16413" y="3461"/>
                </a:lnTo>
                <a:lnTo>
                  <a:pt x="16148" y="3110"/>
                </a:lnTo>
                <a:lnTo>
                  <a:pt x="16015" y="2959"/>
                </a:lnTo>
                <a:lnTo>
                  <a:pt x="15864" y="2859"/>
                </a:lnTo>
                <a:lnTo>
                  <a:pt x="15694" y="2775"/>
                </a:lnTo>
                <a:lnTo>
                  <a:pt x="15504" y="2725"/>
                </a:lnTo>
                <a:lnTo>
                  <a:pt x="15315" y="2708"/>
                </a:lnTo>
                <a:lnTo>
                  <a:pt x="15126" y="2725"/>
                </a:lnTo>
                <a:lnTo>
                  <a:pt x="14936" y="2792"/>
                </a:lnTo>
                <a:lnTo>
                  <a:pt x="14747" y="2876"/>
                </a:lnTo>
                <a:close/>
                <a:moveTo>
                  <a:pt x="9503" y="9195"/>
                </a:moveTo>
                <a:lnTo>
                  <a:pt x="5301" y="21600"/>
                </a:lnTo>
                <a:lnTo>
                  <a:pt x="7269" y="21600"/>
                </a:lnTo>
                <a:lnTo>
                  <a:pt x="7913" y="19694"/>
                </a:lnTo>
                <a:lnTo>
                  <a:pt x="13687" y="19694"/>
                </a:lnTo>
                <a:lnTo>
                  <a:pt x="14350" y="21600"/>
                </a:lnTo>
                <a:lnTo>
                  <a:pt x="16318" y="21600"/>
                </a:lnTo>
                <a:lnTo>
                  <a:pt x="12097" y="9195"/>
                </a:lnTo>
                <a:lnTo>
                  <a:pt x="9503" y="9195"/>
                </a:lnTo>
                <a:close/>
                <a:moveTo>
                  <a:pt x="10809" y="11185"/>
                </a:moveTo>
                <a:lnTo>
                  <a:pt x="11756" y="13960"/>
                </a:lnTo>
                <a:lnTo>
                  <a:pt x="9863" y="13960"/>
                </a:lnTo>
                <a:lnTo>
                  <a:pt x="10809" y="11185"/>
                </a:lnTo>
                <a:close/>
                <a:moveTo>
                  <a:pt x="13043" y="17788"/>
                </a:moveTo>
                <a:lnTo>
                  <a:pt x="8557" y="17788"/>
                </a:lnTo>
                <a:lnTo>
                  <a:pt x="9219" y="15882"/>
                </a:lnTo>
                <a:lnTo>
                  <a:pt x="12400" y="15882"/>
                </a:lnTo>
                <a:lnTo>
                  <a:pt x="13043" y="17788"/>
                </a:lnTo>
                <a:close/>
              </a:path>
            </a:pathLst>
          </a:custGeom>
          <a:solidFill>
            <a:srgbClr val="C00000"/>
          </a:solidFill>
          <a:ln w="12700" cap="flat">
            <a:noFill/>
            <a:miter lim="400000"/>
          </a:ln>
          <a:effectLst/>
        </p:spPr>
        <p:txBody>
          <a:bodyPr wrap="square" lIns="45712" tIns="45712" rIns="45712" bIns="45712" numCol="1" anchor="t">
            <a:noAutofit/>
          </a:bodyPr>
          <a:lstStyle/>
          <a:p>
            <a:pPr defTabSz="914112">
              <a:defRPr>
                <a:latin typeface="微软雅黑"/>
                <a:ea typeface="微软雅黑"/>
                <a:cs typeface="微软雅黑"/>
                <a:sym typeface="微软雅黑"/>
              </a:defRPr>
            </a:pPr>
            <a:endParaRPr sz="1799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  <a:sym typeface="微软雅黑" panose="020B0503020204020204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3228445" y="2604807"/>
            <a:ext cx="877163" cy="36920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400">
              <a:defRPr/>
            </a:pPr>
            <a:r>
              <a:rPr lang="zh-CN" altLang="en-US" sz="1799" b="1" kern="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消费者</a:t>
            </a:r>
            <a:endParaRPr lang="en-US" altLang="zh-CN" sz="1799" b="1" kern="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5761995" y="2602738"/>
            <a:ext cx="1338828" cy="36920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400">
              <a:defRPr/>
            </a:pPr>
            <a:r>
              <a:rPr lang="zh-CN" altLang="en-US" sz="1799" b="1" kern="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运营商客户</a:t>
            </a:r>
            <a:endParaRPr lang="en-US" altLang="zh-CN" sz="1799" b="1" kern="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8636857" y="2610058"/>
            <a:ext cx="1107996" cy="36920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400">
              <a:defRPr/>
            </a:pPr>
            <a:r>
              <a:rPr lang="zh-CN" altLang="en-US" sz="1799" b="1" kern="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政企客户</a:t>
            </a:r>
            <a:endParaRPr lang="en-US" altLang="zh-CN" sz="1799" b="1" kern="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62" name="Freeform 6"/>
          <p:cNvSpPr/>
          <p:nvPr/>
        </p:nvSpPr>
        <p:spPr>
          <a:xfrm>
            <a:off x="8169275" y="2621080"/>
            <a:ext cx="284349" cy="34679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188" y="6360"/>
                </a:moveTo>
                <a:cubicBezTo>
                  <a:pt x="9188" y="6360"/>
                  <a:pt x="9188" y="6360"/>
                  <a:pt x="9188" y="6360"/>
                </a:cubicBezTo>
                <a:cubicBezTo>
                  <a:pt x="9188" y="5880"/>
                  <a:pt x="8543" y="5400"/>
                  <a:pt x="7899" y="5280"/>
                </a:cubicBezTo>
                <a:cubicBezTo>
                  <a:pt x="7899" y="5160"/>
                  <a:pt x="7899" y="5160"/>
                  <a:pt x="7899" y="5160"/>
                </a:cubicBezTo>
                <a:cubicBezTo>
                  <a:pt x="7899" y="4440"/>
                  <a:pt x="7254" y="3960"/>
                  <a:pt x="6448" y="3960"/>
                </a:cubicBezTo>
                <a:cubicBezTo>
                  <a:pt x="5964" y="3960"/>
                  <a:pt x="5964" y="3960"/>
                  <a:pt x="5964" y="3960"/>
                </a:cubicBezTo>
                <a:cubicBezTo>
                  <a:pt x="5642" y="480"/>
                  <a:pt x="5642" y="480"/>
                  <a:pt x="5642" y="480"/>
                </a:cubicBezTo>
                <a:cubicBezTo>
                  <a:pt x="5642" y="240"/>
                  <a:pt x="5481" y="0"/>
                  <a:pt x="5319" y="0"/>
                </a:cubicBezTo>
                <a:cubicBezTo>
                  <a:pt x="5158" y="0"/>
                  <a:pt x="4997" y="240"/>
                  <a:pt x="4997" y="480"/>
                </a:cubicBezTo>
                <a:cubicBezTo>
                  <a:pt x="4836" y="3960"/>
                  <a:pt x="4836" y="3960"/>
                  <a:pt x="4836" y="3960"/>
                </a:cubicBezTo>
                <a:cubicBezTo>
                  <a:pt x="4352" y="3960"/>
                  <a:pt x="4352" y="3960"/>
                  <a:pt x="4352" y="3960"/>
                </a:cubicBezTo>
                <a:cubicBezTo>
                  <a:pt x="3546" y="3960"/>
                  <a:pt x="2740" y="4440"/>
                  <a:pt x="2740" y="5160"/>
                </a:cubicBezTo>
                <a:cubicBezTo>
                  <a:pt x="2740" y="5280"/>
                  <a:pt x="2740" y="5280"/>
                  <a:pt x="2740" y="5280"/>
                </a:cubicBezTo>
                <a:cubicBezTo>
                  <a:pt x="2096" y="5400"/>
                  <a:pt x="1612" y="5880"/>
                  <a:pt x="1612" y="6360"/>
                </a:cubicBezTo>
                <a:cubicBezTo>
                  <a:pt x="1612" y="6360"/>
                  <a:pt x="1612" y="6360"/>
                  <a:pt x="1612" y="6360"/>
                </a:cubicBezTo>
                <a:cubicBezTo>
                  <a:pt x="645" y="6360"/>
                  <a:pt x="0" y="6840"/>
                  <a:pt x="0" y="7440"/>
                </a:cubicBezTo>
                <a:cubicBezTo>
                  <a:pt x="0" y="20760"/>
                  <a:pt x="0" y="20760"/>
                  <a:pt x="0" y="20760"/>
                </a:cubicBezTo>
                <a:cubicBezTo>
                  <a:pt x="0" y="21120"/>
                  <a:pt x="484" y="21480"/>
                  <a:pt x="1128" y="21480"/>
                </a:cubicBezTo>
                <a:cubicBezTo>
                  <a:pt x="2901" y="21480"/>
                  <a:pt x="2901" y="21480"/>
                  <a:pt x="2901" y="21480"/>
                </a:cubicBezTo>
                <a:cubicBezTo>
                  <a:pt x="3063" y="21480"/>
                  <a:pt x="3063" y="21480"/>
                  <a:pt x="3063" y="21480"/>
                </a:cubicBezTo>
                <a:cubicBezTo>
                  <a:pt x="4030" y="21480"/>
                  <a:pt x="4030" y="21480"/>
                  <a:pt x="4030" y="21480"/>
                </a:cubicBezTo>
                <a:cubicBezTo>
                  <a:pt x="4030" y="18840"/>
                  <a:pt x="4030" y="18840"/>
                  <a:pt x="4030" y="18840"/>
                </a:cubicBezTo>
                <a:cubicBezTo>
                  <a:pt x="4030" y="18720"/>
                  <a:pt x="4030" y="18720"/>
                  <a:pt x="4191" y="18720"/>
                </a:cubicBezTo>
                <a:cubicBezTo>
                  <a:pt x="6448" y="18720"/>
                  <a:pt x="6448" y="18720"/>
                  <a:pt x="6448" y="18720"/>
                </a:cubicBezTo>
                <a:cubicBezTo>
                  <a:pt x="6609" y="18720"/>
                  <a:pt x="6609" y="18720"/>
                  <a:pt x="6609" y="18840"/>
                </a:cubicBezTo>
                <a:cubicBezTo>
                  <a:pt x="6609" y="21480"/>
                  <a:pt x="6609" y="21480"/>
                  <a:pt x="6609" y="21480"/>
                </a:cubicBezTo>
                <a:cubicBezTo>
                  <a:pt x="7576" y="21480"/>
                  <a:pt x="7576" y="21480"/>
                  <a:pt x="7576" y="21480"/>
                </a:cubicBezTo>
                <a:cubicBezTo>
                  <a:pt x="7737" y="21480"/>
                  <a:pt x="7737" y="21480"/>
                  <a:pt x="7737" y="21480"/>
                </a:cubicBezTo>
                <a:cubicBezTo>
                  <a:pt x="9672" y="21480"/>
                  <a:pt x="9672" y="21480"/>
                  <a:pt x="9672" y="21480"/>
                </a:cubicBezTo>
                <a:cubicBezTo>
                  <a:pt x="10155" y="21480"/>
                  <a:pt x="10639" y="21120"/>
                  <a:pt x="10639" y="20760"/>
                </a:cubicBezTo>
                <a:cubicBezTo>
                  <a:pt x="10639" y="7440"/>
                  <a:pt x="10639" y="7440"/>
                  <a:pt x="10639" y="7440"/>
                </a:cubicBezTo>
                <a:cubicBezTo>
                  <a:pt x="10639" y="6840"/>
                  <a:pt x="9994" y="6360"/>
                  <a:pt x="9188" y="6360"/>
                </a:cubicBezTo>
                <a:close/>
                <a:moveTo>
                  <a:pt x="7737" y="17040"/>
                </a:moveTo>
                <a:cubicBezTo>
                  <a:pt x="2901" y="17040"/>
                  <a:pt x="2901" y="17040"/>
                  <a:pt x="2901" y="17040"/>
                </a:cubicBezTo>
                <a:cubicBezTo>
                  <a:pt x="2579" y="17040"/>
                  <a:pt x="2257" y="16800"/>
                  <a:pt x="2257" y="16560"/>
                </a:cubicBezTo>
                <a:cubicBezTo>
                  <a:pt x="2257" y="16320"/>
                  <a:pt x="2579" y="16080"/>
                  <a:pt x="2901" y="16080"/>
                </a:cubicBezTo>
                <a:cubicBezTo>
                  <a:pt x="7737" y="16080"/>
                  <a:pt x="7737" y="16080"/>
                  <a:pt x="7737" y="16080"/>
                </a:cubicBezTo>
                <a:cubicBezTo>
                  <a:pt x="8060" y="16080"/>
                  <a:pt x="8382" y="16320"/>
                  <a:pt x="8382" y="16560"/>
                </a:cubicBezTo>
                <a:cubicBezTo>
                  <a:pt x="8382" y="16800"/>
                  <a:pt x="8060" y="17040"/>
                  <a:pt x="7737" y="17040"/>
                </a:cubicBezTo>
                <a:close/>
                <a:moveTo>
                  <a:pt x="7737" y="14880"/>
                </a:moveTo>
                <a:cubicBezTo>
                  <a:pt x="2901" y="14880"/>
                  <a:pt x="2901" y="14880"/>
                  <a:pt x="2901" y="14880"/>
                </a:cubicBezTo>
                <a:cubicBezTo>
                  <a:pt x="2579" y="14880"/>
                  <a:pt x="2257" y="14640"/>
                  <a:pt x="2257" y="14400"/>
                </a:cubicBezTo>
                <a:cubicBezTo>
                  <a:pt x="2257" y="14160"/>
                  <a:pt x="2579" y="13920"/>
                  <a:pt x="2901" y="13920"/>
                </a:cubicBezTo>
                <a:cubicBezTo>
                  <a:pt x="7737" y="13920"/>
                  <a:pt x="7737" y="13920"/>
                  <a:pt x="7737" y="13920"/>
                </a:cubicBezTo>
                <a:cubicBezTo>
                  <a:pt x="8060" y="13920"/>
                  <a:pt x="8382" y="14160"/>
                  <a:pt x="8382" y="14400"/>
                </a:cubicBezTo>
                <a:cubicBezTo>
                  <a:pt x="8382" y="14640"/>
                  <a:pt x="8060" y="14880"/>
                  <a:pt x="7737" y="14880"/>
                </a:cubicBezTo>
                <a:close/>
                <a:moveTo>
                  <a:pt x="7737" y="12720"/>
                </a:moveTo>
                <a:cubicBezTo>
                  <a:pt x="2901" y="12720"/>
                  <a:pt x="2901" y="12720"/>
                  <a:pt x="2901" y="12720"/>
                </a:cubicBezTo>
                <a:cubicBezTo>
                  <a:pt x="2579" y="12720"/>
                  <a:pt x="2257" y="12480"/>
                  <a:pt x="2257" y="12240"/>
                </a:cubicBezTo>
                <a:cubicBezTo>
                  <a:pt x="2257" y="12000"/>
                  <a:pt x="2579" y="11880"/>
                  <a:pt x="2901" y="11880"/>
                </a:cubicBezTo>
                <a:cubicBezTo>
                  <a:pt x="7737" y="11880"/>
                  <a:pt x="7737" y="11880"/>
                  <a:pt x="7737" y="11880"/>
                </a:cubicBezTo>
                <a:cubicBezTo>
                  <a:pt x="8060" y="11880"/>
                  <a:pt x="8382" y="12000"/>
                  <a:pt x="8382" y="12240"/>
                </a:cubicBezTo>
                <a:cubicBezTo>
                  <a:pt x="8382" y="12480"/>
                  <a:pt x="8060" y="12720"/>
                  <a:pt x="7737" y="12720"/>
                </a:cubicBezTo>
                <a:close/>
                <a:moveTo>
                  <a:pt x="7737" y="10560"/>
                </a:moveTo>
                <a:cubicBezTo>
                  <a:pt x="2901" y="10560"/>
                  <a:pt x="2901" y="10560"/>
                  <a:pt x="2901" y="10560"/>
                </a:cubicBezTo>
                <a:cubicBezTo>
                  <a:pt x="2579" y="10560"/>
                  <a:pt x="2257" y="10320"/>
                  <a:pt x="2257" y="10080"/>
                </a:cubicBezTo>
                <a:cubicBezTo>
                  <a:pt x="2257" y="9840"/>
                  <a:pt x="2579" y="9720"/>
                  <a:pt x="2901" y="9720"/>
                </a:cubicBezTo>
                <a:cubicBezTo>
                  <a:pt x="7737" y="9720"/>
                  <a:pt x="7737" y="9720"/>
                  <a:pt x="7737" y="9720"/>
                </a:cubicBezTo>
                <a:cubicBezTo>
                  <a:pt x="8060" y="9720"/>
                  <a:pt x="8382" y="9840"/>
                  <a:pt x="8382" y="10080"/>
                </a:cubicBezTo>
                <a:cubicBezTo>
                  <a:pt x="8382" y="10320"/>
                  <a:pt x="8060" y="10560"/>
                  <a:pt x="7737" y="10560"/>
                </a:cubicBezTo>
                <a:close/>
                <a:moveTo>
                  <a:pt x="7737" y="8400"/>
                </a:moveTo>
                <a:cubicBezTo>
                  <a:pt x="2901" y="8400"/>
                  <a:pt x="2901" y="8400"/>
                  <a:pt x="2901" y="8400"/>
                </a:cubicBezTo>
                <a:cubicBezTo>
                  <a:pt x="2579" y="8400"/>
                  <a:pt x="2257" y="8160"/>
                  <a:pt x="2257" y="7920"/>
                </a:cubicBezTo>
                <a:cubicBezTo>
                  <a:pt x="2257" y="7680"/>
                  <a:pt x="2579" y="7560"/>
                  <a:pt x="2901" y="7560"/>
                </a:cubicBezTo>
                <a:cubicBezTo>
                  <a:pt x="7737" y="7560"/>
                  <a:pt x="7737" y="7560"/>
                  <a:pt x="7737" y="7560"/>
                </a:cubicBezTo>
                <a:cubicBezTo>
                  <a:pt x="8060" y="7560"/>
                  <a:pt x="8382" y="7680"/>
                  <a:pt x="8382" y="7920"/>
                </a:cubicBezTo>
                <a:cubicBezTo>
                  <a:pt x="8382" y="8160"/>
                  <a:pt x="8060" y="8400"/>
                  <a:pt x="7737" y="8400"/>
                </a:cubicBezTo>
                <a:close/>
                <a:moveTo>
                  <a:pt x="20633" y="10560"/>
                </a:moveTo>
                <a:cubicBezTo>
                  <a:pt x="13379" y="10560"/>
                  <a:pt x="13379" y="10560"/>
                  <a:pt x="13379" y="10560"/>
                </a:cubicBezTo>
                <a:cubicBezTo>
                  <a:pt x="12734" y="10560"/>
                  <a:pt x="12251" y="10920"/>
                  <a:pt x="12251" y="11280"/>
                </a:cubicBezTo>
                <a:cubicBezTo>
                  <a:pt x="12251" y="20880"/>
                  <a:pt x="12251" y="20880"/>
                  <a:pt x="12251" y="20880"/>
                </a:cubicBezTo>
                <a:cubicBezTo>
                  <a:pt x="12251" y="21240"/>
                  <a:pt x="12734" y="21600"/>
                  <a:pt x="13379" y="21600"/>
                </a:cubicBezTo>
                <a:cubicBezTo>
                  <a:pt x="17893" y="21600"/>
                  <a:pt x="17893" y="21600"/>
                  <a:pt x="17893" y="21600"/>
                </a:cubicBezTo>
                <a:cubicBezTo>
                  <a:pt x="17893" y="19560"/>
                  <a:pt x="17893" y="19560"/>
                  <a:pt x="17893" y="19560"/>
                </a:cubicBezTo>
                <a:cubicBezTo>
                  <a:pt x="17893" y="19440"/>
                  <a:pt x="18054" y="19200"/>
                  <a:pt x="18376" y="19200"/>
                </a:cubicBezTo>
                <a:cubicBezTo>
                  <a:pt x="19666" y="19200"/>
                  <a:pt x="19666" y="19200"/>
                  <a:pt x="19666" y="19200"/>
                </a:cubicBezTo>
                <a:cubicBezTo>
                  <a:pt x="19988" y="19200"/>
                  <a:pt x="20149" y="19440"/>
                  <a:pt x="20149" y="19560"/>
                </a:cubicBezTo>
                <a:cubicBezTo>
                  <a:pt x="20149" y="21600"/>
                  <a:pt x="20149" y="21600"/>
                  <a:pt x="20149" y="21600"/>
                </a:cubicBezTo>
                <a:cubicBezTo>
                  <a:pt x="20633" y="21600"/>
                  <a:pt x="20633" y="21600"/>
                  <a:pt x="20633" y="21600"/>
                </a:cubicBezTo>
                <a:cubicBezTo>
                  <a:pt x="21116" y="21600"/>
                  <a:pt x="21600" y="21240"/>
                  <a:pt x="21600" y="20880"/>
                </a:cubicBezTo>
                <a:cubicBezTo>
                  <a:pt x="21600" y="11280"/>
                  <a:pt x="21600" y="11280"/>
                  <a:pt x="21600" y="11280"/>
                </a:cubicBezTo>
                <a:cubicBezTo>
                  <a:pt x="21600" y="10920"/>
                  <a:pt x="21116" y="10560"/>
                  <a:pt x="20633" y="10560"/>
                </a:cubicBezTo>
                <a:close/>
                <a:moveTo>
                  <a:pt x="16281" y="19920"/>
                </a:moveTo>
                <a:cubicBezTo>
                  <a:pt x="16281" y="20040"/>
                  <a:pt x="16119" y="20160"/>
                  <a:pt x="15797" y="20160"/>
                </a:cubicBezTo>
                <a:cubicBezTo>
                  <a:pt x="14507" y="20160"/>
                  <a:pt x="14507" y="20160"/>
                  <a:pt x="14507" y="20160"/>
                </a:cubicBezTo>
                <a:cubicBezTo>
                  <a:pt x="14185" y="20160"/>
                  <a:pt x="14024" y="20040"/>
                  <a:pt x="14024" y="19920"/>
                </a:cubicBezTo>
                <a:cubicBezTo>
                  <a:pt x="14024" y="19440"/>
                  <a:pt x="14024" y="19440"/>
                  <a:pt x="14024" y="19440"/>
                </a:cubicBezTo>
                <a:cubicBezTo>
                  <a:pt x="14024" y="19320"/>
                  <a:pt x="14185" y="19200"/>
                  <a:pt x="14507" y="19200"/>
                </a:cubicBezTo>
                <a:cubicBezTo>
                  <a:pt x="15797" y="19200"/>
                  <a:pt x="15797" y="19200"/>
                  <a:pt x="15797" y="19200"/>
                </a:cubicBezTo>
                <a:cubicBezTo>
                  <a:pt x="16119" y="19200"/>
                  <a:pt x="16281" y="19320"/>
                  <a:pt x="16281" y="19440"/>
                </a:cubicBezTo>
                <a:lnTo>
                  <a:pt x="16281" y="19920"/>
                </a:lnTo>
                <a:close/>
                <a:moveTo>
                  <a:pt x="16281" y="18000"/>
                </a:moveTo>
                <a:cubicBezTo>
                  <a:pt x="16281" y="18240"/>
                  <a:pt x="16119" y="18360"/>
                  <a:pt x="15797" y="18360"/>
                </a:cubicBezTo>
                <a:cubicBezTo>
                  <a:pt x="14507" y="18360"/>
                  <a:pt x="14507" y="18360"/>
                  <a:pt x="14507" y="18360"/>
                </a:cubicBezTo>
                <a:cubicBezTo>
                  <a:pt x="14185" y="18360"/>
                  <a:pt x="14024" y="18240"/>
                  <a:pt x="14024" y="18000"/>
                </a:cubicBezTo>
                <a:cubicBezTo>
                  <a:pt x="14024" y="17640"/>
                  <a:pt x="14024" y="17640"/>
                  <a:pt x="14024" y="17640"/>
                </a:cubicBezTo>
                <a:cubicBezTo>
                  <a:pt x="14024" y="17520"/>
                  <a:pt x="14185" y="17280"/>
                  <a:pt x="14507" y="17280"/>
                </a:cubicBezTo>
                <a:cubicBezTo>
                  <a:pt x="15797" y="17280"/>
                  <a:pt x="15797" y="17280"/>
                  <a:pt x="15797" y="17280"/>
                </a:cubicBezTo>
                <a:cubicBezTo>
                  <a:pt x="16119" y="17280"/>
                  <a:pt x="16281" y="17520"/>
                  <a:pt x="16281" y="17640"/>
                </a:cubicBezTo>
                <a:lnTo>
                  <a:pt x="16281" y="18000"/>
                </a:lnTo>
                <a:close/>
                <a:moveTo>
                  <a:pt x="16281" y="16200"/>
                </a:moveTo>
                <a:cubicBezTo>
                  <a:pt x="16281" y="16440"/>
                  <a:pt x="16119" y="16560"/>
                  <a:pt x="15797" y="16560"/>
                </a:cubicBezTo>
                <a:cubicBezTo>
                  <a:pt x="14507" y="16560"/>
                  <a:pt x="14507" y="16560"/>
                  <a:pt x="14507" y="16560"/>
                </a:cubicBezTo>
                <a:cubicBezTo>
                  <a:pt x="14185" y="16560"/>
                  <a:pt x="14024" y="16440"/>
                  <a:pt x="14024" y="16200"/>
                </a:cubicBezTo>
                <a:cubicBezTo>
                  <a:pt x="14024" y="15840"/>
                  <a:pt x="14024" y="15840"/>
                  <a:pt x="14024" y="15840"/>
                </a:cubicBezTo>
                <a:cubicBezTo>
                  <a:pt x="14024" y="15600"/>
                  <a:pt x="14185" y="15480"/>
                  <a:pt x="14507" y="15480"/>
                </a:cubicBezTo>
                <a:cubicBezTo>
                  <a:pt x="15797" y="15480"/>
                  <a:pt x="15797" y="15480"/>
                  <a:pt x="15797" y="15480"/>
                </a:cubicBezTo>
                <a:cubicBezTo>
                  <a:pt x="16119" y="15480"/>
                  <a:pt x="16281" y="15600"/>
                  <a:pt x="16281" y="15840"/>
                </a:cubicBezTo>
                <a:lnTo>
                  <a:pt x="16281" y="16200"/>
                </a:lnTo>
                <a:close/>
                <a:moveTo>
                  <a:pt x="16281" y="14400"/>
                </a:moveTo>
                <a:cubicBezTo>
                  <a:pt x="16281" y="14520"/>
                  <a:pt x="16119" y="14640"/>
                  <a:pt x="15797" y="14640"/>
                </a:cubicBezTo>
                <a:cubicBezTo>
                  <a:pt x="14507" y="14640"/>
                  <a:pt x="14507" y="14640"/>
                  <a:pt x="14507" y="14640"/>
                </a:cubicBezTo>
                <a:cubicBezTo>
                  <a:pt x="14185" y="14640"/>
                  <a:pt x="14024" y="14520"/>
                  <a:pt x="14024" y="14400"/>
                </a:cubicBezTo>
                <a:cubicBezTo>
                  <a:pt x="14024" y="13920"/>
                  <a:pt x="14024" y="13920"/>
                  <a:pt x="14024" y="13920"/>
                </a:cubicBezTo>
                <a:cubicBezTo>
                  <a:pt x="14024" y="13800"/>
                  <a:pt x="14185" y="13680"/>
                  <a:pt x="14507" y="13680"/>
                </a:cubicBezTo>
                <a:cubicBezTo>
                  <a:pt x="15797" y="13680"/>
                  <a:pt x="15797" y="13680"/>
                  <a:pt x="15797" y="13680"/>
                </a:cubicBezTo>
                <a:cubicBezTo>
                  <a:pt x="16119" y="13680"/>
                  <a:pt x="16281" y="13800"/>
                  <a:pt x="16281" y="13920"/>
                </a:cubicBezTo>
                <a:lnTo>
                  <a:pt x="16281" y="14400"/>
                </a:lnTo>
                <a:close/>
                <a:moveTo>
                  <a:pt x="16281" y="12600"/>
                </a:moveTo>
                <a:cubicBezTo>
                  <a:pt x="16281" y="12720"/>
                  <a:pt x="16119" y="12840"/>
                  <a:pt x="15797" y="12840"/>
                </a:cubicBezTo>
                <a:cubicBezTo>
                  <a:pt x="14507" y="12840"/>
                  <a:pt x="14507" y="12840"/>
                  <a:pt x="14507" y="12840"/>
                </a:cubicBezTo>
                <a:cubicBezTo>
                  <a:pt x="14185" y="12840"/>
                  <a:pt x="14024" y="12720"/>
                  <a:pt x="14024" y="12600"/>
                </a:cubicBezTo>
                <a:cubicBezTo>
                  <a:pt x="14024" y="12120"/>
                  <a:pt x="14024" y="12120"/>
                  <a:pt x="14024" y="12120"/>
                </a:cubicBezTo>
                <a:cubicBezTo>
                  <a:pt x="14024" y="12000"/>
                  <a:pt x="14185" y="11880"/>
                  <a:pt x="14507" y="11880"/>
                </a:cubicBezTo>
                <a:cubicBezTo>
                  <a:pt x="15797" y="11880"/>
                  <a:pt x="15797" y="11880"/>
                  <a:pt x="15797" y="11880"/>
                </a:cubicBezTo>
                <a:cubicBezTo>
                  <a:pt x="16119" y="11880"/>
                  <a:pt x="16281" y="12000"/>
                  <a:pt x="16281" y="12120"/>
                </a:cubicBezTo>
                <a:lnTo>
                  <a:pt x="16281" y="12600"/>
                </a:lnTo>
                <a:close/>
                <a:moveTo>
                  <a:pt x="19988" y="18000"/>
                </a:moveTo>
                <a:cubicBezTo>
                  <a:pt x="19988" y="18240"/>
                  <a:pt x="19666" y="18360"/>
                  <a:pt x="19504" y="18360"/>
                </a:cubicBezTo>
                <a:cubicBezTo>
                  <a:pt x="18054" y="18360"/>
                  <a:pt x="18054" y="18360"/>
                  <a:pt x="18054" y="18360"/>
                </a:cubicBezTo>
                <a:cubicBezTo>
                  <a:pt x="17893" y="18360"/>
                  <a:pt x="17731" y="18240"/>
                  <a:pt x="17731" y="18000"/>
                </a:cubicBezTo>
                <a:cubicBezTo>
                  <a:pt x="17731" y="17640"/>
                  <a:pt x="17731" y="17640"/>
                  <a:pt x="17731" y="17640"/>
                </a:cubicBezTo>
                <a:cubicBezTo>
                  <a:pt x="17731" y="17520"/>
                  <a:pt x="17893" y="17280"/>
                  <a:pt x="18054" y="17280"/>
                </a:cubicBezTo>
                <a:cubicBezTo>
                  <a:pt x="19504" y="17280"/>
                  <a:pt x="19504" y="17280"/>
                  <a:pt x="19504" y="17280"/>
                </a:cubicBezTo>
                <a:cubicBezTo>
                  <a:pt x="19666" y="17280"/>
                  <a:pt x="19988" y="17520"/>
                  <a:pt x="19988" y="17640"/>
                </a:cubicBezTo>
                <a:lnTo>
                  <a:pt x="19988" y="18000"/>
                </a:lnTo>
                <a:close/>
                <a:moveTo>
                  <a:pt x="19988" y="16200"/>
                </a:moveTo>
                <a:cubicBezTo>
                  <a:pt x="19988" y="16440"/>
                  <a:pt x="19666" y="16560"/>
                  <a:pt x="19504" y="16560"/>
                </a:cubicBezTo>
                <a:cubicBezTo>
                  <a:pt x="18054" y="16560"/>
                  <a:pt x="18054" y="16560"/>
                  <a:pt x="18054" y="16560"/>
                </a:cubicBezTo>
                <a:cubicBezTo>
                  <a:pt x="17893" y="16560"/>
                  <a:pt x="17731" y="16440"/>
                  <a:pt x="17731" y="16200"/>
                </a:cubicBezTo>
                <a:cubicBezTo>
                  <a:pt x="17731" y="15840"/>
                  <a:pt x="17731" y="15840"/>
                  <a:pt x="17731" y="15840"/>
                </a:cubicBezTo>
                <a:cubicBezTo>
                  <a:pt x="17731" y="15600"/>
                  <a:pt x="17893" y="15480"/>
                  <a:pt x="18054" y="15480"/>
                </a:cubicBezTo>
                <a:cubicBezTo>
                  <a:pt x="19504" y="15480"/>
                  <a:pt x="19504" y="15480"/>
                  <a:pt x="19504" y="15480"/>
                </a:cubicBezTo>
                <a:cubicBezTo>
                  <a:pt x="19666" y="15480"/>
                  <a:pt x="19988" y="15600"/>
                  <a:pt x="19988" y="15840"/>
                </a:cubicBezTo>
                <a:lnTo>
                  <a:pt x="19988" y="16200"/>
                </a:lnTo>
                <a:close/>
                <a:moveTo>
                  <a:pt x="19988" y="14400"/>
                </a:moveTo>
                <a:cubicBezTo>
                  <a:pt x="19988" y="14520"/>
                  <a:pt x="19666" y="14640"/>
                  <a:pt x="19504" y="14640"/>
                </a:cubicBezTo>
                <a:cubicBezTo>
                  <a:pt x="18054" y="14640"/>
                  <a:pt x="18054" y="14640"/>
                  <a:pt x="18054" y="14640"/>
                </a:cubicBezTo>
                <a:cubicBezTo>
                  <a:pt x="17893" y="14640"/>
                  <a:pt x="17731" y="14520"/>
                  <a:pt x="17731" y="14400"/>
                </a:cubicBezTo>
                <a:cubicBezTo>
                  <a:pt x="17731" y="13920"/>
                  <a:pt x="17731" y="13920"/>
                  <a:pt x="17731" y="13920"/>
                </a:cubicBezTo>
                <a:cubicBezTo>
                  <a:pt x="17731" y="13800"/>
                  <a:pt x="17893" y="13680"/>
                  <a:pt x="18054" y="13680"/>
                </a:cubicBezTo>
                <a:cubicBezTo>
                  <a:pt x="19504" y="13680"/>
                  <a:pt x="19504" y="13680"/>
                  <a:pt x="19504" y="13680"/>
                </a:cubicBezTo>
                <a:cubicBezTo>
                  <a:pt x="19666" y="13680"/>
                  <a:pt x="19988" y="13800"/>
                  <a:pt x="19988" y="13920"/>
                </a:cubicBezTo>
                <a:lnTo>
                  <a:pt x="19988" y="14400"/>
                </a:lnTo>
                <a:close/>
                <a:moveTo>
                  <a:pt x="19988" y="12600"/>
                </a:moveTo>
                <a:cubicBezTo>
                  <a:pt x="19988" y="12720"/>
                  <a:pt x="19666" y="12840"/>
                  <a:pt x="19504" y="12840"/>
                </a:cubicBezTo>
                <a:cubicBezTo>
                  <a:pt x="18054" y="12840"/>
                  <a:pt x="18054" y="12840"/>
                  <a:pt x="18054" y="12840"/>
                </a:cubicBezTo>
                <a:cubicBezTo>
                  <a:pt x="17893" y="12840"/>
                  <a:pt x="17731" y="12720"/>
                  <a:pt x="17731" y="12600"/>
                </a:cubicBezTo>
                <a:cubicBezTo>
                  <a:pt x="17731" y="12120"/>
                  <a:pt x="17731" y="12120"/>
                  <a:pt x="17731" y="12120"/>
                </a:cubicBezTo>
                <a:cubicBezTo>
                  <a:pt x="17731" y="12000"/>
                  <a:pt x="17893" y="11880"/>
                  <a:pt x="18054" y="11880"/>
                </a:cubicBezTo>
                <a:cubicBezTo>
                  <a:pt x="19504" y="11880"/>
                  <a:pt x="19504" y="11880"/>
                  <a:pt x="19504" y="11880"/>
                </a:cubicBezTo>
                <a:cubicBezTo>
                  <a:pt x="19666" y="11880"/>
                  <a:pt x="19988" y="12000"/>
                  <a:pt x="19988" y="12120"/>
                </a:cubicBezTo>
                <a:lnTo>
                  <a:pt x="19988" y="12600"/>
                </a:lnTo>
                <a:close/>
              </a:path>
            </a:pathLst>
          </a:custGeom>
          <a:solidFill>
            <a:srgbClr val="C00000"/>
          </a:solidFill>
          <a:ln w="12700" cap="flat">
            <a:noFill/>
            <a:miter lim="400000"/>
          </a:ln>
          <a:effectLst/>
        </p:spPr>
        <p:txBody>
          <a:bodyPr wrap="square" lIns="45712" tIns="45712" rIns="45712" bIns="45712" numCol="1" anchor="t">
            <a:noAutofit/>
          </a:bodyPr>
          <a:lstStyle/>
          <a:p>
            <a:pPr defTabSz="914112">
              <a:defRPr>
                <a:solidFill>
                  <a:srgbClr val="92D050"/>
                </a:solidFill>
                <a:latin typeface="微软雅黑"/>
                <a:ea typeface="微软雅黑"/>
                <a:cs typeface="微软雅黑"/>
                <a:sym typeface="微软雅黑"/>
              </a:defRPr>
            </a:pPr>
            <a:endParaRPr sz="1799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/>
              <a:sym typeface="微软雅黑" panose="020B0503020204020204" pitchFamily="34" charset="-122"/>
            </a:endParaRPr>
          </a:p>
        </p:txBody>
      </p:sp>
      <p:sp>
        <p:nvSpPr>
          <p:cNvPr id="50" name="圆角矩形 49"/>
          <p:cNvSpPr/>
          <p:nvPr/>
        </p:nvSpPr>
        <p:spPr>
          <a:xfrm>
            <a:off x="5053148" y="2476049"/>
            <a:ext cx="2211518" cy="625793"/>
          </a:xfrm>
          <a:prstGeom prst="roundRect">
            <a:avLst>
              <a:gd name="adj" fmla="val 0"/>
            </a:avLst>
          </a:prstGeom>
          <a:gradFill flip="none" rotWithShape="1">
            <a:gsLst>
              <a:gs pos="38000">
                <a:srgbClr val="666666">
                  <a:lumMod val="60000"/>
                  <a:lumOff val="40000"/>
                  <a:alpha val="2000"/>
                </a:srgbClr>
              </a:gs>
              <a:gs pos="100000">
                <a:srgbClr val="666666">
                  <a:lumMod val="60000"/>
                  <a:lumOff val="40000"/>
                  <a:alpha val="15000"/>
                </a:srgbClr>
              </a:gs>
            </a:gsLst>
            <a:path path="shape">
              <a:fillToRect l="50000" t="50000" r="50000" b="50000"/>
            </a:path>
            <a:tileRect/>
          </a:gradFill>
          <a:ln w="6350" cap="flat" cmpd="sng" algn="ctr">
            <a:gradFill flip="none" rotWithShape="1">
              <a:gsLst>
                <a:gs pos="0">
                  <a:srgbClr val="666666">
                    <a:lumMod val="60000"/>
                    <a:lumOff val="40000"/>
                    <a:alpha val="80000"/>
                  </a:srgbClr>
                </a:gs>
                <a:gs pos="100000">
                  <a:srgbClr val="666666">
                    <a:lumMod val="60000"/>
                    <a:lumOff val="40000"/>
                    <a:alpha val="40000"/>
                  </a:srgbClr>
                </a:gs>
              </a:gsLst>
              <a:lin ang="0" scaled="0"/>
              <a:tileRect/>
            </a:gra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0" tIns="0" rIns="0" bIns="0" anchor="ctr" anchorCtr="1"/>
          <a:lstStyle/>
          <a:p>
            <a:pPr algn="ctr" defTabSz="914355"/>
            <a:endParaRPr lang="en-US" altLang="zh-CN" sz="1200" b="1" kern="0" spc="50" dirty="0">
              <a:solidFill>
                <a:schemeClr val="bg2">
                  <a:lumMod val="10000"/>
                </a:schemeClr>
              </a:solidFill>
              <a:latin typeface="Arial" pitchFamily="34" charset="0"/>
              <a:ea typeface="微软雅黑" pitchFamily="34" charset="-122"/>
              <a:cs typeface="Arial" pitchFamily="34" charset="0"/>
              <a:sym typeface="微软雅黑" panose="020B0503020204020204" pitchFamily="34" charset="-122"/>
            </a:endParaRPr>
          </a:p>
        </p:txBody>
      </p:sp>
      <p:sp>
        <p:nvSpPr>
          <p:cNvPr id="64" name="圆角矩形 63"/>
          <p:cNvSpPr/>
          <p:nvPr/>
        </p:nvSpPr>
        <p:spPr>
          <a:xfrm>
            <a:off x="7783213" y="2483663"/>
            <a:ext cx="2211518" cy="625793"/>
          </a:xfrm>
          <a:prstGeom prst="roundRect">
            <a:avLst>
              <a:gd name="adj" fmla="val 0"/>
            </a:avLst>
          </a:prstGeom>
          <a:gradFill flip="none" rotWithShape="1">
            <a:gsLst>
              <a:gs pos="38000">
                <a:srgbClr val="666666">
                  <a:lumMod val="60000"/>
                  <a:lumOff val="40000"/>
                  <a:alpha val="2000"/>
                </a:srgbClr>
              </a:gs>
              <a:gs pos="100000">
                <a:srgbClr val="666666">
                  <a:lumMod val="60000"/>
                  <a:lumOff val="40000"/>
                  <a:alpha val="15000"/>
                </a:srgbClr>
              </a:gs>
            </a:gsLst>
            <a:path path="shape">
              <a:fillToRect l="50000" t="50000" r="50000" b="50000"/>
            </a:path>
            <a:tileRect/>
          </a:gradFill>
          <a:ln w="6350" cap="flat" cmpd="sng" algn="ctr">
            <a:gradFill flip="none" rotWithShape="1">
              <a:gsLst>
                <a:gs pos="0">
                  <a:srgbClr val="666666">
                    <a:lumMod val="60000"/>
                    <a:lumOff val="40000"/>
                    <a:alpha val="80000"/>
                  </a:srgbClr>
                </a:gs>
                <a:gs pos="100000">
                  <a:srgbClr val="666666">
                    <a:lumMod val="60000"/>
                    <a:lumOff val="40000"/>
                    <a:alpha val="40000"/>
                  </a:srgbClr>
                </a:gs>
              </a:gsLst>
              <a:lin ang="0" scaled="0"/>
              <a:tileRect/>
            </a:gra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0" tIns="0" rIns="0" bIns="0" anchor="ctr" anchorCtr="1"/>
          <a:lstStyle/>
          <a:p>
            <a:pPr algn="ctr" defTabSz="914355"/>
            <a:endParaRPr lang="en-US" altLang="zh-CN" sz="1200" b="1" kern="0" spc="50" dirty="0">
              <a:solidFill>
                <a:schemeClr val="bg2">
                  <a:lumMod val="10000"/>
                </a:schemeClr>
              </a:solidFill>
              <a:latin typeface="Arial" pitchFamily="34" charset="0"/>
              <a:ea typeface="微软雅黑" pitchFamily="34" charset="-122"/>
              <a:cs typeface="Arial" pitchFamily="34" charset="0"/>
              <a:sym typeface="微软雅黑" panose="020B0503020204020204" pitchFamily="34" charset="-122"/>
            </a:endParaRPr>
          </a:p>
        </p:txBody>
      </p:sp>
      <p:sp>
        <p:nvSpPr>
          <p:cNvPr id="66" name="副标题 1">
            <a:extLst>
              <a:ext uri="{FF2B5EF4-FFF2-40B4-BE49-F238E27FC236}">
                <a16:creationId xmlns:a16="http://schemas.microsoft.com/office/drawing/2014/main" id="{2F828DCC-E88E-4031-8438-71F38D88B149}"/>
              </a:ext>
            </a:extLst>
          </p:cNvPr>
          <p:cNvSpPr txBox="1">
            <a:spLocks/>
          </p:cNvSpPr>
          <p:nvPr/>
        </p:nvSpPr>
        <p:spPr>
          <a:xfrm>
            <a:off x="723900" y="447675"/>
            <a:ext cx="107315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96950" indent="-296950" algn="l" defTabSz="1187798" rtl="0" eaLnBrk="1" latinLnBrk="0" hangingPunct="1">
              <a:lnSpc>
                <a:spcPct val="90000"/>
              </a:lnSpc>
              <a:spcBef>
                <a:spcPts val="1299"/>
              </a:spcBef>
              <a:buFont typeface="Arial" panose="020B0604020202020204" pitchFamily="34" charset="0"/>
              <a:buChar char="•"/>
              <a:defRPr sz="36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90849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84748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5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78648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72547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6447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60346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54245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48144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聚焦</a:t>
            </a:r>
            <a:r>
              <a:rPr lang="en-US" altLang="zh-CN" sz="28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ICT</a:t>
            </a: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技术，面向三类客户，提供产品、解决方案和服务</a:t>
            </a:r>
          </a:p>
        </p:txBody>
      </p:sp>
    </p:spTree>
    <p:extLst>
      <p:ext uri="{BB962C8B-B14F-4D97-AF65-F5344CB8AC3E}">
        <p14:creationId xmlns:p14="http://schemas.microsoft.com/office/powerpoint/2010/main" val="21182567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矩形 51">
            <a:extLst>
              <a:ext uri="{FF2B5EF4-FFF2-40B4-BE49-F238E27FC236}">
                <a16:creationId xmlns:a16="http://schemas.microsoft.com/office/drawing/2014/main" id="{0E5B096D-2F98-4130-93EA-996F1E04757E}"/>
              </a:ext>
            </a:extLst>
          </p:cNvPr>
          <p:cNvSpPr/>
          <p:nvPr/>
        </p:nvSpPr>
        <p:spPr>
          <a:xfrm>
            <a:off x="8017431" y="1660114"/>
            <a:ext cx="3445340" cy="4372386"/>
          </a:xfrm>
          <a:prstGeom prst="rect">
            <a:avLst/>
          </a:prstGeom>
          <a:gradFill>
            <a:gsLst>
              <a:gs pos="100000">
                <a:schemeClr val="bg1">
                  <a:lumMod val="60000"/>
                  <a:lumOff val="40000"/>
                  <a:alpha val="0"/>
                </a:schemeClr>
              </a:gs>
              <a:gs pos="33000">
                <a:schemeClr val="bg1">
                  <a:lumMod val="60000"/>
                  <a:lumOff val="40000"/>
                  <a:alpha val="15000"/>
                </a:schemeClr>
              </a:gs>
            </a:gsLst>
            <a:lin ang="5400000" scaled="0"/>
          </a:gradFill>
          <a:ln w="6350">
            <a:gradFill>
              <a:gsLst>
                <a:gs pos="0">
                  <a:schemeClr val="bg1">
                    <a:lumMod val="40000"/>
                    <a:lumOff val="60000"/>
                  </a:schemeClr>
                </a:gs>
                <a:gs pos="100000">
                  <a:schemeClr val="bg1">
                    <a:lumMod val="40000"/>
                    <a:lumOff val="60000"/>
                    <a:alpha val="0"/>
                  </a:schemeClr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defTabSz="914477">
              <a:lnSpc>
                <a:spcPct val="120000"/>
              </a:lnSpc>
            </a:pPr>
            <a:endParaRPr kumimoji="1" lang="zh-CN" altLang="en-US" sz="1200">
              <a:solidFill>
                <a:srgbClr val="FFFFFF"/>
              </a:solidFill>
              <a:latin typeface="微软雅黑" panose="020B0503020204020204" pitchFamily="34" charset="-122"/>
            </a:endParaRPr>
          </a:p>
        </p:txBody>
      </p:sp>
      <p:sp>
        <p:nvSpPr>
          <p:cNvPr id="24" name="副标题 1">
            <a:extLst>
              <a:ext uri="{FF2B5EF4-FFF2-40B4-BE49-F238E27FC236}">
                <a16:creationId xmlns:a16="http://schemas.microsoft.com/office/drawing/2014/main" id="{B69F5064-002D-48CA-9514-A991535F3EE6}"/>
              </a:ext>
            </a:extLst>
          </p:cNvPr>
          <p:cNvSpPr txBox="1">
            <a:spLocks/>
          </p:cNvSpPr>
          <p:nvPr/>
        </p:nvSpPr>
        <p:spPr>
          <a:xfrm>
            <a:off x="723900" y="447675"/>
            <a:ext cx="107315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96950" indent="-296950" algn="l" defTabSz="1187798" rtl="0" eaLnBrk="1" latinLnBrk="0" hangingPunct="1">
              <a:lnSpc>
                <a:spcPct val="90000"/>
              </a:lnSpc>
              <a:spcBef>
                <a:spcPts val="1299"/>
              </a:spcBef>
              <a:buFont typeface="Arial" panose="020B0604020202020204" pitchFamily="34" charset="0"/>
              <a:buChar char="•"/>
              <a:defRPr sz="36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90849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84748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5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78648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72547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6447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60346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54245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48144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zh-CN" altLang="en-US" sz="2800" dirty="0">
                <a:solidFill>
                  <a:srgbClr val="1D1D1A"/>
                </a:solidFill>
                <a:latin typeface="微软雅黑" panose="020B0503020204020204" pitchFamily="34" charset="-122"/>
                <a:cs typeface="+mn-ea"/>
                <a:sym typeface="Wingdings" panose="05000000000000000000" pitchFamily="2" charset="2"/>
              </a:rPr>
              <a:t>运营商业务：聚焦用户体验和可持续发展，助力客户商业成功</a:t>
            </a:r>
            <a:endParaRPr lang="zh-CN" altLang="en-US" sz="2800" dirty="0">
              <a:solidFill>
                <a:srgbClr val="1D1D1A"/>
              </a:solidFill>
              <a:latin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FFC7F0E4-5834-4C3C-8CC9-C200787CB23A}"/>
              </a:ext>
            </a:extLst>
          </p:cNvPr>
          <p:cNvSpPr/>
          <p:nvPr/>
        </p:nvSpPr>
        <p:spPr>
          <a:xfrm>
            <a:off x="731271" y="1660480"/>
            <a:ext cx="3445340" cy="4381875"/>
          </a:xfrm>
          <a:prstGeom prst="rect">
            <a:avLst/>
          </a:prstGeom>
          <a:gradFill>
            <a:gsLst>
              <a:gs pos="100000">
                <a:schemeClr val="bg1">
                  <a:lumMod val="60000"/>
                  <a:lumOff val="40000"/>
                  <a:alpha val="0"/>
                </a:schemeClr>
              </a:gs>
              <a:gs pos="33000">
                <a:schemeClr val="bg1">
                  <a:lumMod val="60000"/>
                  <a:lumOff val="40000"/>
                  <a:alpha val="15000"/>
                </a:schemeClr>
              </a:gs>
            </a:gsLst>
            <a:lin ang="5400000" scaled="0"/>
          </a:gradFill>
          <a:ln w="6350">
            <a:gradFill>
              <a:gsLst>
                <a:gs pos="0">
                  <a:schemeClr val="bg1">
                    <a:lumMod val="40000"/>
                    <a:lumOff val="60000"/>
                  </a:schemeClr>
                </a:gs>
                <a:gs pos="100000">
                  <a:schemeClr val="bg1">
                    <a:lumMod val="40000"/>
                    <a:lumOff val="60000"/>
                    <a:alpha val="0"/>
                  </a:schemeClr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defTabSz="914477">
              <a:lnSpc>
                <a:spcPct val="120000"/>
              </a:lnSpc>
            </a:pPr>
            <a:endParaRPr kumimoji="1" lang="zh-CN" altLang="en-US" sz="1200">
              <a:solidFill>
                <a:srgbClr val="FFFFFF"/>
              </a:solidFill>
              <a:latin typeface="微软雅黑" panose="020B0503020204020204" pitchFamily="34" charset="-122"/>
            </a:endParaRP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DB220068-C01E-4463-815E-E0DC65F0B6EC}"/>
              </a:ext>
            </a:extLst>
          </p:cNvPr>
          <p:cNvSpPr/>
          <p:nvPr/>
        </p:nvSpPr>
        <p:spPr>
          <a:xfrm>
            <a:off x="4293059" y="1660114"/>
            <a:ext cx="3603813" cy="4372386"/>
          </a:xfrm>
          <a:prstGeom prst="rect">
            <a:avLst/>
          </a:prstGeom>
          <a:gradFill>
            <a:gsLst>
              <a:gs pos="100000">
                <a:schemeClr val="bg1">
                  <a:lumMod val="60000"/>
                  <a:lumOff val="40000"/>
                  <a:alpha val="0"/>
                </a:schemeClr>
              </a:gs>
              <a:gs pos="33000">
                <a:schemeClr val="bg1">
                  <a:lumMod val="60000"/>
                  <a:lumOff val="40000"/>
                  <a:alpha val="15000"/>
                </a:schemeClr>
              </a:gs>
            </a:gsLst>
            <a:lin ang="5400000" scaled="0"/>
          </a:gradFill>
          <a:ln w="6350">
            <a:gradFill>
              <a:gsLst>
                <a:gs pos="0">
                  <a:schemeClr val="bg1">
                    <a:lumMod val="40000"/>
                    <a:lumOff val="60000"/>
                  </a:schemeClr>
                </a:gs>
                <a:gs pos="100000">
                  <a:schemeClr val="bg1">
                    <a:lumMod val="40000"/>
                    <a:lumOff val="60000"/>
                    <a:alpha val="0"/>
                  </a:schemeClr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defTabSz="914477">
              <a:lnSpc>
                <a:spcPct val="120000"/>
              </a:lnSpc>
            </a:pPr>
            <a:endParaRPr kumimoji="1" lang="zh-CN" altLang="en-US" sz="1200">
              <a:solidFill>
                <a:srgbClr val="FFFFFF"/>
              </a:solidFill>
              <a:latin typeface="微软雅黑" panose="020B0503020204020204" pitchFamily="34" charset="-122"/>
            </a:endParaRPr>
          </a:p>
        </p:txBody>
      </p:sp>
      <p:sp>
        <p:nvSpPr>
          <p:cNvPr id="47" name="梯形 46">
            <a:extLst>
              <a:ext uri="{FF2B5EF4-FFF2-40B4-BE49-F238E27FC236}">
                <a16:creationId xmlns:a16="http://schemas.microsoft.com/office/drawing/2014/main" id="{D8B2EB92-B730-4D78-9374-B1A17A172D42}"/>
              </a:ext>
            </a:extLst>
          </p:cNvPr>
          <p:cNvSpPr/>
          <p:nvPr/>
        </p:nvSpPr>
        <p:spPr>
          <a:xfrm>
            <a:off x="4291660" y="1391874"/>
            <a:ext cx="3586515" cy="268606"/>
          </a:xfrm>
          <a:prstGeom prst="trapezoid">
            <a:avLst>
              <a:gd name="adj" fmla="val 317187"/>
            </a:avLst>
          </a:prstGeom>
          <a:gradFill>
            <a:gsLst>
              <a:gs pos="0">
                <a:srgbClr val="666666">
                  <a:lumMod val="40000"/>
                  <a:lumOff val="60000"/>
                  <a:alpha val="27000"/>
                </a:srgbClr>
              </a:gs>
              <a:gs pos="67000">
                <a:srgbClr val="666666">
                  <a:lumMod val="40000"/>
                  <a:lumOff val="60000"/>
                  <a:alpha val="0"/>
                </a:srgbClr>
              </a:gs>
            </a:gsLst>
            <a:lin ang="16200000" scaled="1"/>
          </a:gradFill>
          <a:ln w="6350" cap="flat" cmpd="sng" algn="ctr">
            <a:gradFill flip="none" rotWithShape="1">
              <a:gsLst>
                <a:gs pos="0">
                  <a:srgbClr val="666666">
                    <a:lumMod val="40000"/>
                    <a:lumOff val="60000"/>
                  </a:srgbClr>
                </a:gs>
                <a:gs pos="71000">
                  <a:srgbClr val="666666">
                    <a:lumMod val="40000"/>
                    <a:lumOff val="60000"/>
                    <a:alpha val="0"/>
                  </a:srgbClr>
                </a:gs>
              </a:gsLst>
              <a:lin ang="16200000" scaled="1"/>
              <a:tileRect/>
            </a:gradFill>
            <a:prstDash val="solid"/>
            <a:miter lim="800000"/>
          </a:ln>
          <a:effectLst>
            <a:outerShdw blurRad="50800" dist="38100" dir="5400000" sx="99000" sy="99000" algn="ctr" rotWithShape="0">
              <a:srgbClr val="000000">
                <a:alpha val="10000"/>
              </a:srgbClr>
            </a:outerShdw>
          </a:effectLst>
        </p:spPr>
        <p:txBody>
          <a:bodyPr lIns="108008" tIns="45724" rIns="91447" bIns="45724" anchor="ctr">
            <a:noAutofit/>
          </a:bodyPr>
          <a:lstStyle/>
          <a:p>
            <a:pPr defTabSz="1219540" fontAlgn="ctr"/>
            <a:endParaRPr lang="zh-CN" altLang="en-US" sz="1100" b="1" kern="0" dirty="0">
              <a:solidFill>
                <a:prstClr val="black">
                  <a:lumMod val="75000"/>
                  <a:lumOff val="25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48" name="矩形 3">
            <a:extLst>
              <a:ext uri="{FF2B5EF4-FFF2-40B4-BE49-F238E27FC236}">
                <a16:creationId xmlns:a16="http://schemas.microsoft.com/office/drawing/2014/main" id="{99EC72FB-9B72-4437-9581-F894D8207351}"/>
              </a:ext>
            </a:extLst>
          </p:cNvPr>
          <p:cNvSpPr/>
          <p:nvPr/>
        </p:nvSpPr>
        <p:spPr>
          <a:xfrm>
            <a:off x="731271" y="1324663"/>
            <a:ext cx="4285067" cy="335817"/>
          </a:xfrm>
          <a:prstGeom prst="flowChartInputOutput">
            <a:avLst/>
          </a:prstGeom>
          <a:gradFill>
            <a:gsLst>
              <a:gs pos="0">
                <a:srgbClr val="666666">
                  <a:lumMod val="40000"/>
                  <a:lumOff val="60000"/>
                  <a:alpha val="27000"/>
                </a:srgbClr>
              </a:gs>
              <a:gs pos="67000">
                <a:srgbClr val="666666">
                  <a:lumMod val="40000"/>
                  <a:lumOff val="60000"/>
                  <a:alpha val="0"/>
                </a:srgbClr>
              </a:gs>
            </a:gsLst>
            <a:lin ang="16200000" scaled="1"/>
          </a:gradFill>
          <a:ln w="6350" cap="flat" cmpd="sng" algn="ctr">
            <a:gradFill flip="none" rotWithShape="1">
              <a:gsLst>
                <a:gs pos="0">
                  <a:srgbClr val="666666">
                    <a:lumMod val="40000"/>
                    <a:lumOff val="60000"/>
                  </a:srgbClr>
                </a:gs>
                <a:gs pos="71000">
                  <a:srgbClr val="666666">
                    <a:lumMod val="40000"/>
                    <a:lumOff val="60000"/>
                    <a:alpha val="0"/>
                  </a:srgbClr>
                </a:gs>
              </a:gsLst>
              <a:lin ang="16200000" scaled="1"/>
              <a:tileRect/>
            </a:gradFill>
            <a:prstDash val="solid"/>
            <a:miter lim="800000"/>
          </a:ln>
          <a:effectLst>
            <a:outerShdw blurRad="50800" dist="38100" dir="5400000" sx="99000" sy="99000" algn="ctr" rotWithShape="0">
              <a:srgbClr val="000000">
                <a:alpha val="10000"/>
              </a:srgbClr>
            </a:outerShdw>
          </a:effectLst>
        </p:spPr>
        <p:txBody>
          <a:bodyPr lIns="108008" tIns="45724" rIns="91447" bIns="45724" anchor="ctr">
            <a:noAutofit/>
          </a:bodyPr>
          <a:lstStyle/>
          <a:p>
            <a:pPr defTabSz="1219540" fontAlgn="ctr"/>
            <a:endParaRPr lang="zh-CN" altLang="en-US" sz="1100" b="1" kern="0">
              <a:solidFill>
                <a:prstClr val="black">
                  <a:lumMod val="75000"/>
                  <a:lumOff val="25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49" name="矩形 3">
            <a:extLst>
              <a:ext uri="{FF2B5EF4-FFF2-40B4-BE49-F238E27FC236}">
                <a16:creationId xmlns:a16="http://schemas.microsoft.com/office/drawing/2014/main" id="{1B3A9E9E-405F-4CB8-90E6-3DCDA5A1C990}"/>
              </a:ext>
            </a:extLst>
          </p:cNvPr>
          <p:cNvSpPr/>
          <p:nvPr/>
        </p:nvSpPr>
        <p:spPr>
          <a:xfrm flipH="1">
            <a:off x="7162209" y="1324663"/>
            <a:ext cx="4294355" cy="335817"/>
          </a:xfrm>
          <a:prstGeom prst="flowChartInputOutput">
            <a:avLst/>
          </a:prstGeom>
          <a:gradFill>
            <a:gsLst>
              <a:gs pos="0">
                <a:srgbClr val="666666">
                  <a:lumMod val="40000"/>
                  <a:lumOff val="60000"/>
                  <a:alpha val="27000"/>
                </a:srgbClr>
              </a:gs>
              <a:gs pos="67000">
                <a:srgbClr val="666666">
                  <a:lumMod val="40000"/>
                  <a:lumOff val="60000"/>
                  <a:alpha val="0"/>
                </a:srgbClr>
              </a:gs>
            </a:gsLst>
            <a:lin ang="16200000" scaled="1"/>
          </a:gradFill>
          <a:ln w="6350" cap="flat" cmpd="sng" algn="ctr">
            <a:gradFill flip="none" rotWithShape="1">
              <a:gsLst>
                <a:gs pos="0">
                  <a:srgbClr val="666666">
                    <a:lumMod val="40000"/>
                    <a:lumOff val="60000"/>
                  </a:srgbClr>
                </a:gs>
                <a:gs pos="71000">
                  <a:srgbClr val="666666">
                    <a:lumMod val="40000"/>
                    <a:lumOff val="60000"/>
                    <a:alpha val="0"/>
                  </a:srgbClr>
                </a:gs>
              </a:gsLst>
              <a:lin ang="16200000" scaled="1"/>
              <a:tileRect/>
            </a:gradFill>
            <a:prstDash val="solid"/>
            <a:miter lim="800000"/>
          </a:ln>
          <a:effectLst>
            <a:outerShdw blurRad="50800" dist="38100" dir="5400000" sx="99000" sy="99000" algn="ctr" rotWithShape="0">
              <a:srgbClr val="000000">
                <a:alpha val="10000"/>
              </a:srgbClr>
            </a:outerShdw>
          </a:effectLst>
        </p:spPr>
        <p:txBody>
          <a:bodyPr lIns="108008" tIns="45724" rIns="91447" bIns="45724" anchor="ctr">
            <a:noAutofit/>
          </a:bodyPr>
          <a:lstStyle/>
          <a:p>
            <a:pPr defTabSz="1219540" fontAlgn="ctr"/>
            <a:endParaRPr lang="zh-CN" altLang="en-US" sz="1100" b="1" kern="0">
              <a:solidFill>
                <a:prstClr val="black">
                  <a:lumMod val="75000"/>
                  <a:lumOff val="25000"/>
                </a:prstClr>
              </a:solidFill>
              <a:cs typeface="arial" panose="020B0604020202020204" pitchFamily="34" charset="0"/>
            </a:endParaRP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35853CEC-8AFC-4678-973C-A77C0E12F1C9}"/>
              </a:ext>
            </a:extLst>
          </p:cNvPr>
          <p:cNvGrpSpPr/>
          <p:nvPr/>
        </p:nvGrpSpPr>
        <p:grpSpPr>
          <a:xfrm>
            <a:off x="8708061" y="2026119"/>
            <a:ext cx="2064081" cy="1435186"/>
            <a:chOff x="5497118" y="2641137"/>
            <a:chExt cx="1239984" cy="835161"/>
          </a:xfrm>
        </p:grpSpPr>
        <p:pic>
          <p:nvPicPr>
            <p:cNvPr id="11" name="Picture 15">
              <a:extLst>
                <a:ext uri="{FF2B5EF4-FFF2-40B4-BE49-F238E27FC236}">
                  <a16:creationId xmlns:a16="http://schemas.microsoft.com/office/drawing/2014/main" id="{DB915631-1F9B-47C4-A77B-A4CBAC0697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prstClr val="black"/>
                <a:srgbClr val="61B230">
                  <a:tint val="45000"/>
                  <a:satMod val="400000"/>
                </a:srgbClr>
              </a:duotone>
            </a:blip>
            <a:srcRect/>
            <a:stretch>
              <a:fillRect/>
            </a:stretch>
          </p:blipFill>
          <p:spPr bwMode="auto">
            <a:xfrm>
              <a:off x="5497118" y="2641137"/>
              <a:ext cx="563223" cy="835161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</p:pic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0BC28A73-6CEF-47A9-B3A3-8E290226A80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05249" y="2978394"/>
              <a:ext cx="631853" cy="432277"/>
              <a:chOff x="4848225" y="922338"/>
              <a:chExt cx="922338" cy="522288"/>
            </a:xfrm>
            <a:solidFill>
              <a:srgbClr val="81B5DC"/>
            </a:solidFill>
          </p:grpSpPr>
          <p:sp>
            <p:nvSpPr>
              <p:cNvPr id="13" name="Freeform 579">
                <a:extLst>
                  <a:ext uri="{FF2B5EF4-FFF2-40B4-BE49-F238E27FC236}">
                    <a16:creationId xmlns:a16="http://schemas.microsoft.com/office/drawing/2014/main" id="{74E2B15F-CBA7-4E5B-A24F-62605817C4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48225" y="922338"/>
                <a:ext cx="922338" cy="522288"/>
              </a:xfrm>
              <a:custGeom>
                <a:avLst/>
                <a:gdLst>
                  <a:gd name="T0" fmla="*/ 2147483646 w 2176"/>
                  <a:gd name="T1" fmla="*/ 2147483646 h 1230"/>
                  <a:gd name="T2" fmla="*/ 2147483646 w 2176"/>
                  <a:gd name="T3" fmla="*/ 2147483646 h 1230"/>
                  <a:gd name="T4" fmla="*/ 2147483646 w 2176"/>
                  <a:gd name="T5" fmla="*/ 2147483646 h 1230"/>
                  <a:gd name="T6" fmla="*/ 2147483646 w 2176"/>
                  <a:gd name="T7" fmla="*/ 2147483646 h 1230"/>
                  <a:gd name="T8" fmla="*/ 2147483646 w 2176"/>
                  <a:gd name="T9" fmla="*/ 2147483646 h 1230"/>
                  <a:gd name="T10" fmla="*/ 2147483646 w 2176"/>
                  <a:gd name="T11" fmla="*/ 2147483646 h 1230"/>
                  <a:gd name="T12" fmla="*/ 2147483646 w 2176"/>
                  <a:gd name="T13" fmla="*/ 2147483646 h 1230"/>
                  <a:gd name="T14" fmla="*/ 2147483646 w 2176"/>
                  <a:gd name="T15" fmla="*/ 2147483646 h 1230"/>
                  <a:gd name="T16" fmla="*/ 2147483646 w 2176"/>
                  <a:gd name="T17" fmla="*/ 2147483646 h 1230"/>
                  <a:gd name="T18" fmla="*/ 2147483646 w 2176"/>
                  <a:gd name="T19" fmla="*/ 2147483646 h 1230"/>
                  <a:gd name="T20" fmla="*/ 2147483646 w 2176"/>
                  <a:gd name="T21" fmla="*/ 2147483646 h 1230"/>
                  <a:gd name="T22" fmla="*/ 2147483646 w 2176"/>
                  <a:gd name="T23" fmla="*/ 2147483646 h 1230"/>
                  <a:gd name="T24" fmla="*/ 2147483646 w 2176"/>
                  <a:gd name="T25" fmla="*/ 2147483646 h 1230"/>
                  <a:gd name="T26" fmla="*/ 2147483646 w 2176"/>
                  <a:gd name="T27" fmla="*/ 2147483646 h 1230"/>
                  <a:gd name="T28" fmla="*/ 2147483646 w 2176"/>
                  <a:gd name="T29" fmla="*/ 2147483646 h 1230"/>
                  <a:gd name="T30" fmla="*/ 2147483646 w 2176"/>
                  <a:gd name="T31" fmla="*/ 2147483646 h 1230"/>
                  <a:gd name="T32" fmla="*/ 2147483646 w 2176"/>
                  <a:gd name="T33" fmla="*/ 2147483646 h 1230"/>
                  <a:gd name="T34" fmla="*/ 2147483646 w 2176"/>
                  <a:gd name="T35" fmla="*/ 2147483646 h 1230"/>
                  <a:gd name="T36" fmla="*/ 2147483646 w 2176"/>
                  <a:gd name="T37" fmla="*/ 2147483646 h 1230"/>
                  <a:gd name="T38" fmla="*/ 2147483646 w 2176"/>
                  <a:gd name="T39" fmla="*/ 2147483646 h 1230"/>
                  <a:gd name="T40" fmla="*/ 2147483646 w 2176"/>
                  <a:gd name="T41" fmla="*/ 2147483646 h 1230"/>
                  <a:gd name="T42" fmla="*/ 2147483646 w 2176"/>
                  <a:gd name="T43" fmla="*/ 2147483646 h 1230"/>
                  <a:gd name="T44" fmla="*/ 2147483646 w 2176"/>
                  <a:gd name="T45" fmla="*/ 2147483646 h 1230"/>
                  <a:gd name="T46" fmla="*/ 2147483646 w 2176"/>
                  <a:gd name="T47" fmla="*/ 2147483646 h 1230"/>
                  <a:gd name="T48" fmla="*/ 2147483646 w 2176"/>
                  <a:gd name="T49" fmla="*/ 2147483646 h 1230"/>
                  <a:gd name="T50" fmla="*/ 2147483646 w 2176"/>
                  <a:gd name="T51" fmla="*/ 2147483646 h 1230"/>
                  <a:gd name="T52" fmla="*/ 2147483646 w 2176"/>
                  <a:gd name="T53" fmla="*/ 0 h 1230"/>
                  <a:gd name="T54" fmla="*/ 2147483646 w 2176"/>
                  <a:gd name="T55" fmla="*/ 2147483646 h 1230"/>
                  <a:gd name="T56" fmla="*/ 2147483646 w 2176"/>
                  <a:gd name="T57" fmla="*/ 2147483646 h 1230"/>
                  <a:gd name="T58" fmla="*/ 2147483646 w 2176"/>
                  <a:gd name="T59" fmla="*/ 2147483646 h 1230"/>
                  <a:gd name="T60" fmla="*/ 2147483646 w 2176"/>
                  <a:gd name="T61" fmla="*/ 2147483646 h 1230"/>
                  <a:gd name="T62" fmla="*/ 2147483646 w 2176"/>
                  <a:gd name="T63" fmla="*/ 2147483646 h 1230"/>
                  <a:gd name="T64" fmla="*/ 2147483646 w 2176"/>
                  <a:gd name="T65" fmla="*/ 2147483646 h 1230"/>
                  <a:gd name="T66" fmla="*/ 2147483646 w 2176"/>
                  <a:gd name="T67" fmla="*/ 2147483646 h 1230"/>
                  <a:gd name="T68" fmla="*/ 2147483646 w 2176"/>
                  <a:gd name="T69" fmla="*/ 2147483646 h 1230"/>
                  <a:gd name="T70" fmla="*/ 2147483646 w 2176"/>
                  <a:gd name="T71" fmla="*/ 2147483646 h 1230"/>
                  <a:gd name="T72" fmla="*/ 2147483646 w 2176"/>
                  <a:gd name="T73" fmla="*/ 2147483646 h 1230"/>
                  <a:gd name="T74" fmla="*/ 2147483646 w 2176"/>
                  <a:gd name="T75" fmla="*/ 2147483646 h 1230"/>
                  <a:gd name="T76" fmla="*/ 2147483646 w 2176"/>
                  <a:gd name="T77" fmla="*/ 2147483646 h 1230"/>
                  <a:gd name="T78" fmla="*/ 2147483646 w 2176"/>
                  <a:gd name="T79" fmla="*/ 2147483646 h 1230"/>
                  <a:gd name="T80" fmla="*/ 2147483646 w 2176"/>
                  <a:gd name="T81" fmla="*/ 2147483646 h 1230"/>
                  <a:gd name="T82" fmla="*/ 2147483646 w 2176"/>
                  <a:gd name="T83" fmla="*/ 2147483646 h 1230"/>
                  <a:gd name="T84" fmla="*/ 2147483646 w 2176"/>
                  <a:gd name="T85" fmla="*/ 2147483646 h 1230"/>
                  <a:gd name="T86" fmla="*/ 2147483646 w 2176"/>
                  <a:gd name="T87" fmla="*/ 2147483646 h 1230"/>
                  <a:gd name="T88" fmla="*/ 2147483646 w 2176"/>
                  <a:gd name="T89" fmla="*/ 2147483646 h 1230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2176"/>
                  <a:gd name="T136" fmla="*/ 0 h 1230"/>
                  <a:gd name="T137" fmla="*/ 2176 w 2176"/>
                  <a:gd name="T138" fmla="*/ 1230 h 1230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2176" h="1230">
                    <a:moveTo>
                      <a:pt x="1453" y="535"/>
                    </a:moveTo>
                    <a:lnTo>
                      <a:pt x="1453" y="535"/>
                    </a:lnTo>
                    <a:lnTo>
                      <a:pt x="1432" y="390"/>
                    </a:lnTo>
                    <a:lnTo>
                      <a:pt x="2039" y="390"/>
                    </a:lnTo>
                    <a:lnTo>
                      <a:pt x="2121" y="535"/>
                    </a:lnTo>
                    <a:lnTo>
                      <a:pt x="1453" y="535"/>
                    </a:lnTo>
                    <a:close/>
                    <a:moveTo>
                      <a:pt x="120" y="390"/>
                    </a:moveTo>
                    <a:lnTo>
                      <a:pt x="120" y="390"/>
                    </a:lnTo>
                    <a:lnTo>
                      <a:pt x="743" y="390"/>
                    </a:lnTo>
                    <a:lnTo>
                      <a:pt x="731" y="535"/>
                    </a:lnTo>
                    <a:lnTo>
                      <a:pt x="52" y="535"/>
                    </a:lnTo>
                    <a:lnTo>
                      <a:pt x="120" y="390"/>
                    </a:lnTo>
                    <a:close/>
                    <a:moveTo>
                      <a:pt x="270" y="73"/>
                    </a:moveTo>
                    <a:lnTo>
                      <a:pt x="270" y="73"/>
                    </a:lnTo>
                    <a:lnTo>
                      <a:pt x="768" y="73"/>
                    </a:lnTo>
                    <a:lnTo>
                      <a:pt x="758" y="196"/>
                    </a:lnTo>
                    <a:lnTo>
                      <a:pt x="212" y="196"/>
                    </a:lnTo>
                    <a:lnTo>
                      <a:pt x="270" y="73"/>
                    </a:lnTo>
                    <a:close/>
                    <a:moveTo>
                      <a:pt x="193" y="236"/>
                    </a:moveTo>
                    <a:lnTo>
                      <a:pt x="193" y="236"/>
                    </a:lnTo>
                    <a:lnTo>
                      <a:pt x="755" y="236"/>
                    </a:lnTo>
                    <a:lnTo>
                      <a:pt x="746" y="350"/>
                    </a:lnTo>
                    <a:lnTo>
                      <a:pt x="139" y="350"/>
                    </a:lnTo>
                    <a:lnTo>
                      <a:pt x="193" y="236"/>
                    </a:lnTo>
                    <a:close/>
                    <a:moveTo>
                      <a:pt x="1392" y="390"/>
                    </a:moveTo>
                    <a:lnTo>
                      <a:pt x="1392" y="390"/>
                    </a:lnTo>
                    <a:lnTo>
                      <a:pt x="1413" y="535"/>
                    </a:lnTo>
                    <a:lnTo>
                      <a:pt x="772" y="535"/>
                    </a:lnTo>
                    <a:lnTo>
                      <a:pt x="783" y="390"/>
                    </a:lnTo>
                    <a:lnTo>
                      <a:pt x="1392" y="390"/>
                    </a:lnTo>
                    <a:close/>
                    <a:moveTo>
                      <a:pt x="1370" y="236"/>
                    </a:moveTo>
                    <a:lnTo>
                      <a:pt x="1370" y="236"/>
                    </a:lnTo>
                    <a:lnTo>
                      <a:pt x="1386" y="350"/>
                    </a:lnTo>
                    <a:lnTo>
                      <a:pt x="786" y="350"/>
                    </a:lnTo>
                    <a:lnTo>
                      <a:pt x="795" y="236"/>
                    </a:lnTo>
                    <a:lnTo>
                      <a:pt x="1370" y="236"/>
                    </a:lnTo>
                    <a:close/>
                    <a:moveTo>
                      <a:pt x="1386" y="73"/>
                    </a:moveTo>
                    <a:lnTo>
                      <a:pt x="1386" y="73"/>
                    </a:lnTo>
                    <a:lnTo>
                      <a:pt x="1861" y="73"/>
                    </a:lnTo>
                    <a:lnTo>
                      <a:pt x="1930" y="196"/>
                    </a:lnTo>
                    <a:lnTo>
                      <a:pt x="1404" y="196"/>
                    </a:lnTo>
                    <a:lnTo>
                      <a:pt x="1386" y="73"/>
                    </a:lnTo>
                    <a:close/>
                    <a:moveTo>
                      <a:pt x="2017" y="350"/>
                    </a:moveTo>
                    <a:lnTo>
                      <a:pt x="2017" y="350"/>
                    </a:lnTo>
                    <a:lnTo>
                      <a:pt x="1427" y="350"/>
                    </a:lnTo>
                    <a:lnTo>
                      <a:pt x="1410" y="236"/>
                    </a:lnTo>
                    <a:lnTo>
                      <a:pt x="1953" y="236"/>
                    </a:lnTo>
                    <a:lnTo>
                      <a:pt x="2017" y="350"/>
                    </a:lnTo>
                    <a:close/>
                    <a:moveTo>
                      <a:pt x="2172" y="545"/>
                    </a:moveTo>
                    <a:lnTo>
                      <a:pt x="2172" y="545"/>
                    </a:lnTo>
                    <a:lnTo>
                      <a:pt x="1890" y="43"/>
                    </a:lnTo>
                    <a:cubicBezTo>
                      <a:pt x="1887" y="36"/>
                      <a:pt x="1880" y="33"/>
                      <a:pt x="1873" y="33"/>
                    </a:cubicBezTo>
                    <a:lnTo>
                      <a:pt x="1218" y="33"/>
                    </a:lnTo>
                    <a:cubicBezTo>
                      <a:pt x="1210" y="13"/>
                      <a:pt x="1191" y="0"/>
                      <a:pt x="1169" y="0"/>
                    </a:cubicBezTo>
                    <a:cubicBezTo>
                      <a:pt x="1139" y="0"/>
                      <a:pt x="1115" y="23"/>
                      <a:pt x="1115" y="53"/>
                    </a:cubicBezTo>
                    <a:cubicBezTo>
                      <a:pt x="1115" y="82"/>
                      <a:pt x="1139" y="106"/>
                      <a:pt x="1169" y="106"/>
                    </a:cubicBezTo>
                    <a:cubicBezTo>
                      <a:pt x="1191" y="106"/>
                      <a:pt x="1210" y="92"/>
                      <a:pt x="1218" y="73"/>
                    </a:cubicBezTo>
                    <a:lnTo>
                      <a:pt x="1346" y="73"/>
                    </a:lnTo>
                    <a:lnTo>
                      <a:pt x="1364" y="196"/>
                    </a:lnTo>
                    <a:lnTo>
                      <a:pt x="799" y="196"/>
                    </a:lnTo>
                    <a:lnTo>
                      <a:pt x="808" y="73"/>
                    </a:lnTo>
                    <a:lnTo>
                      <a:pt x="957" y="73"/>
                    </a:lnTo>
                    <a:cubicBezTo>
                      <a:pt x="965" y="92"/>
                      <a:pt x="984" y="106"/>
                      <a:pt x="1007" y="106"/>
                    </a:cubicBezTo>
                    <a:cubicBezTo>
                      <a:pt x="1036" y="106"/>
                      <a:pt x="1060" y="82"/>
                      <a:pt x="1060" y="53"/>
                    </a:cubicBezTo>
                    <a:cubicBezTo>
                      <a:pt x="1060" y="23"/>
                      <a:pt x="1036" y="0"/>
                      <a:pt x="1007" y="0"/>
                    </a:cubicBezTo>
                    <a:cubicBezTo>
                      <a:pt x="984" y="0"/>
                      <a:pt x="965" y="13"/>
                      <a:pt x="957" y="33"/>
                    </a:cubicBezTo>
                    <a:lnTo>
                      <a:pt x="257" y="33"/>
                    </a:lnTo>
                    <a:cubicBezTo>
                      <a:pt x="249" y="33"/>
                      <a:pt x="242" y="37"/>
                      <a:pt x="239" y="44"/>
                    </a:cubicBezTo>
                    <a:lnTo>
                      <a:pt x="2" y="547"/>
                    </a:lnTo>
                    <a:cubicBezTo>
                      <a:pt x="0" y="553"/>
                      <a:pt x="1" y="560"/>
                      <a:pt x="4" y="566"/>
                    </a:cubicBezTo>
                    <a:cubicBezTo>
                      <a:pt x="7" y="572"/>
                      <a:pt x="14" y="575"/>
                      <a:pt x="20" y="575"/>
                    </a:cubicBezTo>
                    <a:lnTo>
                      <a:pt x="195" y="575"/>
                    </a:lnTo>
                    <a:lnTo>
                      <a:pt x="195" y="1110"/>
                    </a:lnTo>
                    <a:lnTo>
                      <a:pt x="150" y="1110"/>
                    </a:lnTo>
                    <a:lnTo>
                      <a:pt x="118" y="1230"/>
                    </a:lnTo>
                    <a:lnTo>
                      <a:pt x="312" y="1230"/>
                    </a:lnTo>
                    <a:lnTo>
                      <a:pt x="282" y="1110"/>
                    </a:lnTo>
                    <a:lnTo>
                      <a:pt x="235" y="1110"/>
                    </a:lnTo>
                    <a:lnTo>
                      <a:pt x="235" y="575"/>
                    </a:lnTo>
                    <a:lnTo>
                      <a:pt x="1930" y="575"/>
                    </a:lnTo>
                    <a:lnTo>
                      <a:pt x="1930" y="1110"/>
                    </a:lnTo>
                    <a:lnTo>
                      <a:pt x="1885" y="1110"/>
                    </a:lnTo>
                    <a:lnTo>
                      <a:pt x="1853" y="1230"/>
                    </a:lnTo>
                    <a:lnTo>
                      <a:pt x="2048" y="1230"/>
                    </a:lnTo>
                    <a:lnTo>
                      <a:pt x="2017" y="1110"/>
                    </a:lnTo>
                    <a:lnTo>
                      <a:pt x="1970" y="1110"/>
                    </a:lnTo>
                    <a:lnTo>
                      <a:pt x="1970" y="575"/>
                    </a:lnTo>
                    <a:lnTo>
                      <a:pt x="2155" y="575"/>
                    </a:lnTo>
                    <a:cubicBezTo>
                      <a:pt x="2162" y="575"/>
                      <a:pt x="2168" y="571"/>
                      <a:pt x="2172" y="565"/>
                    </a:cubicBezTo>
                    <a:cubicBezTo>
                      <a:pt x="2176" y="559"/>
                      <a:pt x="2176" y="551"/>
                      <a:pt x="2172" y="545"/>
                    </a:cubicBezTo>
                    <a:close/>
                  </a:path>
                </a:pathLst>
              </a:custGeom>
              <a:noFill/>
              <a:ln w="0">
                <a:solidFill>
                  <a:srgbClr val="61B230">
                    <a:lumMod val="75000"/>
                  </a:srgbClr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40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78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718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957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196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435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675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913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400">
                  <a:defRPr/>
                </a:pPr>
                <a:endParaRPr lang="zh-CN" altLang="en-US" sz="1100">
                  <a:ln>
                    <a:solidFill>
                      <a:srgbClr val="00B050"/>
                    </a:solidFill>
                  </a:ln>
                  <a:solidFill>
                    <a:srgbClr val="1D1D1A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4" name="Freeform 580">
                <a:extLst>
                  <a:ext uri="{FF2B5EF4-FFF2-40B4-BE49-F238E27FC236}">
                    <a16:creationId xmlns:a16="http://schemas.microsoft.com/office/drawing/2014/main" id="{DD37AAB6-0C78-421C-9F9E-18C0FE2F265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38725" y="1203325"/>
                <a:ext cx="301625" cy="231775"/>
              </a:xfrm>
              <a:custGeom>
                <a:avLst/>
                <a:gdLst>
                  <a:gd name="T0" fmla="*/ 2147483646 w 711"/>
                  <a:gd name="T1" fmla="*/ 2147483646 h 544"/>
                  <a:gd name="T2" fmla="*/ 2147483646 w 711"/>
                  <a:gd name="T3" fmla="*/ 2147483646 h 544"/>
                  <a:gd name="T4" fmla="*/ 2147483646 w 711"/>
                  <a:gd name="T5" fmla="*/ 2147483646 h 544"/>
                  <a:gd name="T6" fmla="*/ 2147483646 w 711"/>
                  <a:gd name="T7" fmla="*/ 2147483646 h 544"/>
                  <a:gd name="T8" fmla="*/ 2147483646 w 711"/>
                  <a:gd name="T9" fmla="*/ 2147483646 h 544"/>
                  <a:gd name="T10" fmla="*/ 2147483646 w 711"/>
                  <a:gd name="T11" fmla="*/ 2147483646 h 544"/>
                  <a:gd name="T12" fmla="*/ 2147483646 w 711"/>
                  <a:gd name="T13" fmla="*/ 2147483646 h 544"/>
                  <a:gd name="T14" fmla="*/ 2147483646 w 711"/>
                  <a:gd name="T15" fmla="*/ 2147483646 h 544"/>
                  <a:gd name="T16" fmla="*/ 2147483646 w 711"/>
                  <a:gd name="T17" fmla="*/ 2147483646 h 544"/>
                  <a:gd name="T18" fmla="*/ 2147483646 w 711"/>
                  <a:gd name="T19" fmla="*/ 2147483646 h 544"/>
                  <a:gd name="T20" fmla="*/ 2147483646 w 711"/>
                  <a:gd name="T21" fmla="*/ 2147483646 h 544"/>
                  <a:gd name="T22" fmla="*/ 2147483646 w 711"/>
                  <a:gd name="T23" fmla="*/ 2147483646 h 544"/>
                  <a:gd name="T24" fmla="*/ 2147483646 w 711"/>
                  <a:gd name="T25" fmla="*/ 0 h 544"/>
                  <a:gd name="T26" fmla="*/ 2147483646 w 711"/>
                  <a:gd name="T27" fmla="*/ 0 h 544"/>
                  <a:gd name="T28" fmla="*/ 2147483646 w 711"/>
                  <a:gd name="T29" fmla="*/ 0 h 544"/>
                  <a:gd name="T30" fmla="*/ 0 w 711"/>
                  <a:gd name="T31" fmla="*/ 2147483646 h 544"/>
                  <a:gd name="T32" fmla="*/ 0 w 711"/>
                  <a:gd name="T33" fmla="*/ 2147483646 h 544"/>
                  <a:gd name="T34" fmla="*/ 2147483646 w 711"/>
                  <a:gd name="T35" fmla="*/ 2147483646 h 544"/>
                  <a:gd name="T36" fmla="*/ 2147483646 w 711"/>
                  <a:gd name="T37" fmla="*/ 2147483646 h 544"/>
                  <a:gd name="T38" fmla="*/ 2147483646 w 711"/>
                  <a:gd name="T39" fmla="*/ 2147483646 h 544"/>
                  <a:gd name="T40" fmla="*/ 2147483646 w 711"/>
                  <a:gd name="T41" fmla="*/ 2147483646 h 544"/>
                  <a:gd name="T42" fmla="*/ 2147483646 w 711"/>
                  <a:gd name="T43" fmla="*/ 0 h 544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711"/>
                  <a:gd name="T67" fmla="*/ 0 h 544"/>
                  <a:gd name="T68" fmla="*/ 711 w 711"/>
                  <a:gd name="T69" fmla="*/ 544 h 544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711" h="544">
                    <a:moveTo>
                      <a:pt x="40" y="153"/>
                    </a:moveTo>
                    <a:lnTo>
                      <a:pt x="40" y="153"/>
                    </a:lnTo>
                    <a:lnTo>
                      <a:pt x="671" y="153"/>
                    </a:lnTo>
                    <a:lnTo>
                      <a:pt x="671" y="504"/>
                    </a:lnTo>
                    <a:lnTo>
                      <a:pt x="40" y="504"/>
                    </a:lnTo>
                    <a:lnTo>
                      <a:pt x="40" y="153"/>
                    </a:lnTo>
                    <a:close/>
                    <a:moveTo>
                      <a:pt x="671" y="113"/>
                    </a:moveTo>
                    <a:lnTo>
                      <a:pt x="671" y="113"/>
                    </a:lnTo>
                    <a:lnTo>
                      <a:pt x="40" y="113"/>
                    </a:lnTo>
                    <a:lnTo>
                      <a:pt x="40" y="40"/>
                    </a:lnTo>
                    <a:lnTo>
                      <a:pt x="671" y="40"/>
                    </a:lnTo>
                    <a:lnTo>
                      <a:pt x="671" y="113"/>
                    </a:lnTo>
                    <a:close/>
                    <a:moveTo>
                      <a:pt x="691" y="0"/>
                    </a:moveTo>
                    <a:lnTo>
                      <a:pt x="691" y="0"/>
                    </a:lnTo>
                    <a:lnTo>
                      <a:pt x="20" y="0"/>
                    </a:lnTo>
                    <a:cubicBezTo>
                      <a:pt x="9" y="0"/>
                      <a:pt x="0" y="9"/>
                      <a:pt x="0" y="20"/>
                    </a:cubicBezTo>
                    <a:lnTo>
                      <a:pt x="0" y="524"/>
                    </a:lnTo>
                    <a:cubicBezTo>
                      <a:pt x="0" y="535"/>
                      <a:pt x="9" y="544"/>
                      <a:pt x="20" y="544"/>
                    </a:cubicBezTo>
                    <a:lnTo>
                      <a:pt x="691" y="544"/>
                    </a:lnTo>
                    <a:cubicBezTo>
                      <a:pt x="703" y="544"/>
                      <a:pt x="711" y="535"/>
                      <a:pt x="711" y="524"/>
                    </a:cubicBezTo>
                    <a:lnTo>
                      <a:pt x="711" y="20"/>
                    </a:lnTo>
                    <a:cubicBezTo>
                      <a:pt x="711" y="9"/>
                      <a:pt x="703" y="0"/>
                      <a:pt x="691" y="0"/>
                    </a:cubicBezTo>
                    <a:close/>
                  </a:path>
                </a:pathLst>
              </a:custGeom>
              <a:noFill/>
              <a:ln w="0">
                <a:solidFill>
                  <a:srgbClr val="61B230">
                    <a:lumMod val="75000"/>
                  </a:srgbClr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40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78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718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957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196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435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675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913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400">
                  <a:defRPr/>
                </a:pPr>
                <a:endParaRPr lang="zh-CN" altLang="en-US" sz="1100">
                  <a:ln>
                    <a:solidFill>
                      <a:srgbClr val="00B050"/>
                    </a:solidFill>
                  </a:ln>
                  <a:solidFill>
                    <a:srgbClr val="1D1D1A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5" name="Freeform 581">
                <a:extLst>
                  <a:ext uri="{FF2B5EF4-FFF2-40B4-BE49-F238E27FC236}">
                    <a16:creationId xmlns:a16="http://schemas.microsoft.com/office/drawing/2014/main" id="{1A6B35E4-20A9-41C9-BC3A-4006244370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73688" y="1203325"/>
                <a:ext cx="204788" cy="231775"/>
              </a:xfrm>
              <a:custGeom>
                <a:avLst/>
                <a:gdLst>
                  <a:gd name="T0" fmla="*/ 2147483646 w 483"/>
                  <a:gd name="T1" fmla="*/ 2147483646 h 544"/>
                  <a:gd name="T2" fmla="*/ 2147483646 w 483"/>
                  <a:gd name="T3" fmla="*/ 2147483646 h 544"/>
                  <a:gd name="T4" fmla="*/ 2147483646 w 483"/>
                  <a:gd name="T5" fmla="*/ 2147483646 h 544"/>
                  <a:gd name="T6" fmla="*/ 2147483646 w 483"/>
                  <a:gd name="T7" fmla="*/ 2147483646 h 544"/>
                  <a:gd name="T8" fmla="*/ 2147483646 w 483"/>
                  <a:gd name="T9" fmla="*/ 2147483646 h 544"/>
                  <a:gd name="T10" fmla="*/ 2147483646 w 483"/>
                  <a:gd name="T11" fmla="*/ 2147483646 h 544"/>
                  <a:gd name="T12" fmla="*/ 2147483646 w 483"/>
                  <a:gd name="T13" fmla="*/ 2147483646 h 544"/>
                  <a:gd name="T14" fmla="*/ 2147483646 w 483"/>
                  <a:gd name="T15" fmla="*/ 2147483646 h 544"/>
                  <a:gd name="T16" fmla="*/ 2147483646 w 483"/>
                  <a:gd name="T17" fmla="*/ 2147483646 h 544"/>
                  <a:gd name="T18" fmla="*/ 2147483646 w 483"/>
                  <a:gd name="T19" fmla="*/ 2147483646 h 544"/>
                  <a:gd name="T20" fmla="*/ 2147483646 w 483"/>
                  <a:gd name="T21" fmla="*/ 2147483646 h 544"/>
                  <a:gd name="T22" fmla="*/ 2147483646 w 483"/>
                  <a:gd name="T23" fmla="*/ 2147483646 h 544"/>
                  <a:gd name="T24" fmla="*/ 2147483646 w 483"/>
                  <a:gd name="T25" fmla="*/ 0 h 544"/>
                  <a:gd name="T26" fmla="*/ 2147483646 w 483"/>
                  <a:gd name="T27" fmla="*/ 0 h 544"/>
                  <a:gd name="T28" fmla="*/ 2147483646 w 483"/>
                  <a:gd name="T29" fmla="*/ 0 h 544"/>
                  <a:gd name="T30" fmla="*/ 0 w 483"/>
                  <a:gd name="T31" fmla="*/ 2147483646 h 544"/>
                  <a:gd name="T32" fmla="*/ 0 w 483"/>
                  <a:gd name="T33" fmla="*/ 2147483646 h 544"/>
                  <a:gd name="T34" fmla="*/ 2147483646 w 483"/>
                  <a:gd name="T35" fmla="*/ 2147483646 h 544"/>
                  <a:gd name="T36" fmla="*/ 2147483646 w 483"/>
                  <a:gd name="T37" fmla="*/ 2147483646 h 544"/>
                  <a:gd name="T38" fmla="*/ 2147483646 w 483"/>
                  <a:gd name="T39" fmla="*/ 2147483646 h 544"/>
                  <a:gd name="T40" fmla="*/ 2147483646 w 483"/>
                  <a:gd name="T41" fmla="*/ 2147483646 h 544"/>
                  <a:gd name="T42" fmla="*/ 2147483646 w 483"/>
                  <a:gd name="T43" fmla="*/ 0 h 544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483"/>
                  <a:gd name="T67" fmla="*/ 0 h 544"/>
                  <a:gd name="T68" fmla="*/ 483 w 483"/>
                  <a:gd name="T69" fmla="*/ 544 h 544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483" h="544">
                    <a:moveTo>
                      <a:pt x="40" y="427"/>
                    </a:moveTo>
                    <a:lnTo>
                      <a:pt x="40" y="427"/>
                    </a:lnTo>
                    <a:lnTo>
                      <a:pt x="443" y="427"/>
                    </a:lnTo>
                    <a:lnTo>
                      <a:pt x="443" y="504"/>
                    </a:lnTo>
                    <a:lnTo>
                      <a:pt x="40" y="504"/>
                    </a:lnTo>
                    <a:lnTo>
                      <a:pt x="40" y="427"/>
                    </a:lnTo>
                    <a:close/>
                    <a:moveTo>
                      <a:pt x="443" y="387"/>
                    </a:moveTo>
                    <a:lnTo>
                      <a:pt x="443" y="387"/>
                    </a:lnTo>
                    <a:lnTo>
                      <a:pt x="40" y="387"/>
                    </a:lnTo>
                    <a:lnTo>
                      <a:pt x="40" y="40"/>
                    </a:lnTo>
                    <a:lnTo>
                      <a:pt x="443" y="40"/>
                    </a:lnTo>
                    <a:lnTo>
                      <a:pt x="443" y="387"/>
                    </a:lnTo>
                    <a:close/>
                    <a:moveTo>
                      <a:pt x="463" y="0"/>
                    </a:moveTo>
                    <a:lnTo>
                      <a:pt x="463" y="0"/>
                    </a:lnTo>
                    <a:lnTo>
                      <a:pt x="20" y="0"/>
                    </a:lnTo>
                    <a:cubicBezTo>
                      <a:pt x="9" y="0"/>
                      <a:pt x="0" y="9"/>
                      <a:pt x="0" y="20"/>
                    </a:cubicBezTo>
                    <a:lnTo>
                      <a:pt x="0" y="524"/>
                    </a:lnTo>
                    <a:cubicBezTo>
                      <a:pt x="0" y="535"/>
                      <a:pt x="9" y="544"/>
                      <a:pt x="20" y="544"/>
                    </a:cubicBezTo>
                    <a:lnTo>
                      <a:pt x="463" y="544"/>
                    </a:lnTo>
                    <a:cubicBezTo>
                      <a:pt x="474" y="544"/>
                      <a:pt x="483" y="535"/>
                      <a:pt x="483" y="524"/>
                    </a:cubicBezTo>
                    <a:lnTo>
                      <a:pt x="483" y="20"/>
                    </a:lnTo>
                    <a:cubicBezTo>
                      <a:pt x="483" y="9"/>
                      <a:pt x="474" y="0"/>
                      <a:pt x="463" y="0"/>
                    </a:cubicBezTo>
                    <a:close/>
                  </a:path>
                </a:pathLst>
              </a:custGeom>
              <a:noFill/>
              <a:ln w="0">
                <a:solidFill>
                  <a:srgbClr val="61B230">
                    <a:lumMod val="75000"/>
                  </a:srgbClr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40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78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718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957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196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435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675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913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400">
                  <a:defRPr/>
                </a:pPr>
                <a:endParaRPr lang="zh-CN" altLang="en-US" sz="1100">
                  <a:ln>
                    <a:solidFill>
                      <a:srgbClr val="00B050"/>
                    </a:solidFill>
                  </a:ln>
                  <a:solidFill>
                    <a:srgbClr val="1D1D1A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6" name="Freeform 582">
                <a:extLst>
                  <a:ext uri="{FF2B5EF4-FFF2-40B4-BE49-F238E27FC236}">
                    <a16:creationId xmlns:a16="http://schemas.microsoft.com/office/drawing/2014/main" id="{3A5EE416-9896-4288-B3E7-1E89082160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4025" y="1284288"/>
                <a:ext cx="11113" cy="26988"/>
              </a:xfrm>
              <a:custGeom>
                <a:avLst/>
                <a:gdLst>
                  <a:gd name="T0" fmla="*/ 2147483646 w 27"/>
                  <a:gd name="T1" fmla="*/ 0 h 64"/>
                  <a:gd name="T2" fmla="*/ 2147483646 w 27"/>
                  <a:gd name="T3" fmla="*/ 0 h 64"/>
                  <a:gd name="T4" fmla="*/ 0 w 27"/>
                  <a:gd name="T5" fmla="*/ 0 h 64"/>
                  <a:gd name="T6" fmla="*/ 0 w 27"/>
                  <a:gd name="T7" fmla="*/ 2147483646 h 64"/>
                  <a:gd name="T8" fmla="*/ 2147483646 w 27"/>
                  <a:gd name="T9" fmla="*/ 2147483646 h 64"/>
                  <a:gd name="T10" fmla="*/ 2147483646 w 27"/>
                  <a:gd name="T11" fmla="*/ 0 h 6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7"/>
                  <a:gd name="T19" fmla="*/ 0 h 64"/>
                  <a:gd name="T20" fmla="*/ 27 w 27"/>
                  <a:gd name="T21" fmla="*/ 64 h 6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7" h="64">
                    <a:moveTo>
                      <a:pt x="27" y="0"/>
                    </a:moveTo>
                    <a:lnTo>
                      <a:pt x="27" y="0"/>
                    </a:lnTo>
                    <a:lnTo>
                      <a:pt x="0" y="0"/>
                    </a:lnTo>
                    <a:lnTo>
                      <a:pt x="0" y="64"/>
                    </a:lnTo>
                    <a:lnTo>
                      <a:pt x="27" y="64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40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78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718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957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196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435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675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913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400">
                  <a:defRPr/>
                </a:pPr>
                <a:endParaRPr lang="zh-CN" altLang="en-US" sz="1100">
                  <a:ln>
                    <a:solidFill>
                      <a:srgbClr val="00B050"/>
                    </a:solidFill>
                  </a:ln>
                  <a:solidFill>
                    <a:srgbClr val="1D1D1A"/>
                  </a:solidFill>
                  <a:latin typeface="微软雅黑" panose="020B0503020204020204" pitchFamily="34" charset="-122"/>
                </a:endParaRPr>
              </a:p>
            </p:txBody>
          </p:sp>
          <p:sp>
            <p:nvSpPr>
              <p:cNvPr id="17" name="Freeform 583">
                <a:extLst>
                  <a:ext uri="{FF2B5EF4-FFF2-40B4-BE49-F238E27FC236}">
                    <a16:creationId xmlns:a16="http://schemas.microsoft.com/office/drawing/2014/main" id="{1C6023DB-6367-44DD-ADEA-EEB933FA0D3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16550" y="1250950"/>
                <a:ext cx="100013" cy="93663"/>
              </a:xfrm>
              <a:custGeom>
                <a:avLst/>
                <a:gdLst>
                  <a:gd name="T0" fmla="*/ 2147483646 w 235"/>
                  <a:gd name="T1" fmla="*/ 2147483646 h 222"/>
                  <a:gd name="T2" fmla="*/ 2147483646 w 235"/>
                  <a:gd name="T3" fmla="*/ 2147483646 h 222"/>
                  <a:gd name="T4" fmla="*/ 2147483646 w 235"/>
                  <a:gd name="T5" fmla="*/ 2147483646 h 222"/>
                  <a:gd name="T6" fmla="*/ 2147483646 w 235"/>
                  <a:gd name="T7" fmla="*/ 2147483646 h 222"/>
                  <a:gd name="T8" fmla="*/ 2147483646 w 235"/>
                  <a:gd name="T9" fmla="*/ 2147483646 h 222"/>
                  <a:gd name="T10" fmla="*/ 2147483646 w 235"/>
                  <a:gd name="T11" fmla="*/ 2147483646 h 222"/>
                  <a:gd name="T12" fmla="*/ 2147483646 w 235"/>
                  <a:gd name="T13" fmla="*/ 2147483646 h 222"/>
                  <a:gd name="T14" fmla="*/ 2147483646 w 235"/>
                  <a:gd name="T15" fmla="*/ 2147483646 h 222"/>
                  <a:gd name="T16" fmla="*/ 2147483646 w 235"/>
                  <a:gd name="T17" fmla="*/ 2147483646 h 222"/>
                  <a:gd name="T18" fmla="*/ 2147483646 w 235"/>
                  <a:gd name="T19" fmla="*/ 2147483646 h 222"/>
                  <a:gd name="T20" fmla="*/ 2147483646 w 235"/>
                  <a:gd name="T21" fmla="*/ 2147483646 h 222"/>
                  <a:gd name="T22" fmla="*/ 2147483646 w 235"/>
                  <a:gd name="T23" fmla="*/ 2147483646 h 222"/>
                  <a:gd name="T24" fmla="*/ 2147483646 w 235"/>
                  <a:gd name="T25" fmla="*/ 2147483646 h 222"/>
                  <a:gd name="T26" fmla="*/ 2147483646 w 235"/>
                  <a:gd name="T27" fmla="*/ 2147483646 h 222"/>
                  <a:gd name="T28" fmla="*/ 2147483646 w 235"/>
                  <a:gd name="T29" fmla="*/ 2147483646 h 222"/>
                  <a:gd name="T30" fmla="*/ 2147483646 w 235"/>
                  <a:gd name="T31" fmla="*/ 2147483646 h 222"/>
                  <a:gd name="T32" fmla="*/ 2147483646 w 235"/>
                  <a:gd name="T33" fmla="*/ 2147483646 h 222"/>
                  <a:gd name="T34" fmla="*/ 2147483646 w 235"/>
                  <a:gd name="T35" fmla="*/ 2147483646 h 222"/>
                  <a:gd name="T36" fmla="*/ 2147483646 w 235"/>
                  <a:gd name="T37" fmla="*/ 2147483646 h 222"/>
                  <a:gd name="T38" fmla="*/ 2147483646 w 235"/>
                  <a:gd name="T39" fmla="*/ 2147483646 h 222"/>
                  <a:gd name="T40" fmla="*/ 2147483646 w 235"/>
                  <a:gd name="T41" fmla="*/ 2147483646 h 222"/>
                  <a:gd name="T42" fmla="*/ 2147483646 w 235"/>
                  <a:gd name="T43" fmla="*/ 2147483646 h 222"/>
                  <a:gd name="T44" fmla="*/ 2147483646 w 235"/>
                  <a:gd name="T45" fmla="*/ 2147483646 h 222"/>
                  <a:gd name="T46" fmla="*/ 2147483646 w 235"/>
                  <a:gd name="T47" fmla="*/ 2147483646 h 222"/>
                  <a:gd name="T48" fmla="*/ 2147483646 w 235"/>
                  <a:gd name="T49" fmla="*/ 2147483646 h 222"/>
                  <a:gd name="T50" fmla="*/ 2147483646 w 235"/>
                  <a:gd name="T51" fmla="*/ 2147483646 h 222"/>
                  <a:gd name="T52" fmla="*/ 2147483646 w 235"/>
                  <a:gd name="T53" fmla="*/ 2147483646 h 222"/>
                  <a:gd name="T54" fmla="*/ 2147483646 w 235"/>
                  <a:gd name="T55" fmla="*/ 2147483646 h 222"/>
                  <a:gd name="T56" fmla="*/ 2147483646 w 235"/>
                  <a:gd name="T57" fmla="*/ 2147483646 h 222"/>
                  <a:gd name="T58" fmla="*/ 2147483646 w 235"/>
                  <a:gd name="T59" fmla="*/ 2147483646 h 222"/>
                  <a:gd name="T60" fmla="*/ 2147483646 w 235"/>
                  <a:gd name="T61" fmla="*/ 2147483646 h 222"/>
                  <a:gd name="T62" fmla="*/ 2147483646 w 235"/>
                  <a:gd name="T63" fmla="*/ 2147483646 h 222"/>
                  <a:gd name="T64" fmla="*/ 2147483646 w 235"/>
                  <a:gd name="T65" fmla="*/ 2147483646 h 222"/>
                  <a:gd name="T66" fmla="*/ 2147483646 w 235"/>
                  <a:gd name="T67" fmla="*/ 2147483646 h 222"/>
                  <a:gd name="T68" fmla="*/ 2147483646 w 235"/>
                  <a:gd name="T69" fmla="*/ 2147483646 h 222"/>
                  <a:gd name="T70" fmla="*/ 2147483646 w 235"/>
                  <a:gd name="T71" fmla="*/ 2147483646 h 222"/>
                  <a:gd name="T72" fmla="*/ 2147483646 w 235"/>
                  <a:gd name="T73" fmla="*/ 2147483646 h 222"/>
                  <a:gd name="T74" fmla="*/ 2147483646 w 235"/>
                  <a:gd name="T75" fmla="*/ 2147483646 h 222"/>
                  <a:gd name="T76" fmla="*/ 2147483646 w 235"/>
                  <a:gd name="T77" fmla="*/ 2147483646 h 222"/>
                  <a:gd name="T78" fmla="*/ 2147483646 w 235"/>
                  <a:gd name="T79" fmla="*/ 2147483646 h 222"/>
                  <a:gd name="T80" fmla="*/ 2147483646 w 235"/>
                  <a:gd name="T81" fmla="*/ 2147483646 h 222"/>
                  <a:gd name="T82" fmla="*/ 2147483646 w 235"/>
                  <a:gd name="T83" fmla="*/ 2147483646 h 222"/>
                  <a:gd name="T84" fmla="*/ 2147483646 w 235"/>
                  <a:gd name="T85" fmla="*/ 2147483646 h 222"/>
                  <a:gd name="T86" fmla="*/ 2147483646 w 235"/>
                  <a:gd name="T87" fmla="*/ 2147483646 h 222"/>
                  <a:gd name="T88" fmla="*/ 2147483646 w 235"/>
                  <a:gd name="T89" fmla="*/ 2147483646 h 222"/>
                  <a:gd name="T90" fmla="*/ 2147483646 w 235"/>
                  <a:gd name="T91" fmla="*/ 2147483646 h 222"/>
                  <a:gd name="T92" fmla="*/ 2147483646 w 235"/>
                  <a:gd name="T93" fmla="*/ 2147483646 h 222"/>
                  <a:gd name="T94" fmla="*/ 2147483646 w 235"/>
                  <a:gd name="T95" fmla="*/ 2147483646 h 222"/>
                  <a:gd name="T96" fmla="*/ 2147483646 w 235"/>
                  <a:gd name="T97" fmla="*/ 2147483646 h 222"/>
                  <a:gd name="T98" fmla="*/ 2147483646 w 235"/>
                  <a:gd name="T99" fmla="*/ 2147483646 h 222"/>
                  <a:gd name="T100" fmla="*/ 2147483646 w 235"/>
                  <a:gd name="T101" fmla="*/ 2147483646 h 222"/>
                  <a:gd name="T102" fmla="*/ 2147483646 w 235"/>
                  <a:gd name="T103" fmla="*/ 2147483646 h 222"/>
                  <a:gd name="T104" fmla="*/ 2147483646 w 235"/>
                  <a:gd name="T105" fmla="*/ 2147483646 h 222"/>
                  <a:gd name="T106" fmla="*/ 2147483646 w 235"/>
                  <a:gd name="T107" fmla="*/ 2147483646 h 222"/>
                  <a:gd name="T108" fmla="*/ 2147483646 w 235"/>
                  <a:gd name="T109" fmla="*/ 2147483646 h 222"/>
                  <a:gd name="T110" fmla="*/ 2147483646 w 235"/>
                  <a:gd name="T111" fmla="*/ 2147483646 h 222"/>
                  <a:gd name="T112" fmla="*/ 2147483646 w 235"/>
                  <a:gd name="T113" fmla="*/ 2147483646 h 222"/>
                  <a:gd name="T114" fmla="*/ 2147483646 w 235"/>
                  <a:gd name="T115" fmla="*/ 2147483646 h 222"/>
                  <a:gd name="T116" fmla="*/ 2147483646 w 235"/>
                  <a:gd name="T117" fmla="*/ 2147483646 h 222"/>
                  <a:gd name="T118" fmla="*/ 2147483646 w 235"/>
                  <a:gd name="T119" fmla="*/ 2147483646 h 222"/>
                  <a:gd name="T120" fmla="*/ 2147483646 w 235"/>
                  <a:gd name="T121" fmla="*/ 0 h 222"/>
                  <a:gd name="T122" fmla="*/ 0 w 235"/>
                  <a:gd name="T123" fmla="*/ 2147483646 h 222"/>
                  <a:gd name="T124" fmla="*/ 2147483646 w 235"/>
                  <a:gd name="T125" fmla="*/ 0 h 222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235"/>
                  <a:gd name="T190" fmla="*/ 0 h 222"/>
                  <a:gd name="T191" fmla="*/ 235 w 235"/>
                  <a:gd name="T192" fmla="*/ 222 h 222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235" h="222">
                    <a:moveTo>
                      <a:pt x="193" y="161"/>
                    </a:moveTo>
                    <a:lnTo>
                      <a:pt x="193" y="161"/>
                    </a:lnTo>
                    <a:lnTo>
                      <a:pt x="222" y="161"/>
                    </a:lnTo>
                    <a:lnTo>
                      <a:pt x="222" y="209"/>
                    </a:lnTo>
                    <a:lnTo>
                      <a:pt x="193" y="209"/>
                    </a:lnTo>
                    <a:lnTo>
                      <a:pt x="193" y="161"/>
                    </a:lnTo>
                    <a:close/>
                    <a:moveTo>
                      <a:pt x="13" y="161"/>
                    </a:moveTo>
                    <a:lnTo>
                      <a:pt x="13" y="161"/>
                    </a:lnTo>
                    <a:lnTo>
                      <a:pt x="42" y="161"/>
                    </a:lnTo>
                    <a:lnTo>
                      <a:pt x="42" y="209"/>
                    </a:lnTo>
                    <a:lnTo>
                      <a:pt x="13" y="209"/>
                    </a:lnTo>
                    <a:lnTo>
                      <a:pt x="13" y="161"/>
                    </a:lnTo>
                    <a:close/>
                    <a:moveTo>
                      <a:pt x="42" y="38"/>
                    </a:moveTo>
                    <a:lnTo>
                      <a:pt x="42" y="38"/>
                    </a:lnTo>
                    <a:lnTo>
                      <a:pt x="13" y="38"/>
                    </a:lnTo>
                    <a:lnTo>
                      <a:pt x="13" y="13"/>
                    </a:lnTo>
                    <a:lnTo>
                      <a:pt x="42" y="13"/>
                    </a:lnTo>
                    <a:lnTo>
                      <a:pt x="42" y="38"/>
                    </a:lnTo>
                    <a:close/>
                    <a:moveTo>
                      <a:pt x="193" y="52"/>
                    </a:moveTo>
                    <a:lnTo>
                      <a:pt x="193" y="52"/>
                    </a:lnTo>
                    <a:lnTo>
                      <a:pt x="222" y="52"/>
                    </a:lnTo>
                    <a:lnTo>
                      <a:pt x="222" y="93"/>
                    </a:lnTo>
                    <a:lnTo>
                      <a:pt x="193" y="93"/>
                    </a:lnTo>
                    <a:lnTo>
                      <a:pt x="193" y="52"/>
                    </a:lnTo>
                    <a:close/>
                    <a:moveTo>
                      <a:pt x="193" y="106"/>
                    </a:moveTo>
                    <a:lnTo>
                      <a:pt x="193" y="106"/>
                    </a:lnTo>
                    <a:lnTo>
                      <a:pt x="222" y="106"/>
                    </a:lnTo>
                    <a:lnTo>
                      <a:pt x="222" y="147"/>
                    </a:lnTo>
                    <a:lnTo>
                      <a:pt x="193" y="147"/>
                    </a:lnTo>
                    <a:lnTo>
                      <a:pt x="193" y="106"/>
                    </a:lnTo>
                    <a:close/>
                    <a:moveTo>
                      <a:pt x="147" y="106"/>
                    </a:moveTo>
                    <a:lnTo>
                      <a:pt x="147" y="106"/>
                    </a:lnTo>
                    <a:lnTo>
                      <a:pt x="179" y="106"/>
                    </a:lnTo>
                    <a:lnTo>
                      <a:pt x="179" y="147"/>
                    </a:lnTo>
                    <a:lnTo>
                      <a:pt x="147" y="147"/>
                    </a:lnTo>
                    <a:lnTo>
                      <a:pt x="147" y="106"/>
                    </a:lnTo>
                    <a:close/>
                    <a:moveTo>
                      <a:pt x="147" y="161"/>
                    </a:moveTo>
                    <a:lnTo>
                      <a:pt x="147" y="161"/>
                    </a:lnTo>
                    <a:lnTo>
                      <a:pt x="179" y="161"/>
                    </a:lnTo>
                    <a:lnTo>
                      <a:pt x="179" y="209"/>
                    </a:lnTo>
                    <a:lnTo>
                      <a:pt x="147" y="209"/>
                    </a:lnTo>
                    <a:lnTo>
                      <a:pt x="147" y="161"/>
                    </a:lnTo>
                    <a:close/>
                    <a:moveTo>
                      <a:pt x="101" y="161"/>
                    </a:moveTo>
                    <a:lnTo>
                      <a:pt x="101" y="161"/>
                    </a:lnTo>
                    <a:lnTo>
                      <a:pt x="133" y="161"/>
                    </a:lnTo>
                    <a:lnTo>
                      <a:pt x="133" y="209"/>
                    </a:lnTo>
                    <a:lnTo>
                      <a:pt x="101" y="209"/>
                    </a:lnTo>
                    <a:lnTo>
                      <a:pt x="101" y="161"/>
                    </a:lnTo>
                    <a:close/>
                    <a:moveTo>
                      <a:pt x="88" y="209"/>
                    </a:moveTo>
                    <a:lnTo>
                      <a:pt x="88" y="209"/>
                    </a:lnTo>
                    <a:lnTo>
                      <a:pt x="55" y="209"/>
                    </a:lnTo>
                    <a:lnTo>
                      <a:pt x="55" y="161"/>
                    </a:lnTo>
                    <a:lnTo>
                      <a:pt x="88" y="161"/>
                    </a:lnTo>
                    <a:lnTo>
                      <a:pt x="88" y="209"/>
                    </a:lnTo>
                    <a:close/>
                    <a:moveTo>
                      <a:pt x="55" y="106"/>
                    </a:moveTo>
                    <a:lnTo>
                      <a:pt x="55" y="106"/>
                    </a:lnTo>
                    <a:lnTo>
                      <a:pt x="88" y="106"/>
                    </a:lnTo>
                    <a:lnTo>
                      <a:pt x="88" y="147"/>
                    </a:lnTo>
                    <a:lnTo>
                      <a:pt x="55" y="147"/>
                    </a:lnTo>
                    <a:lnTo>
                      <a:pt x="55" y="106"/>
                    </a:lnTo>
                    <a:close/>
                    <a:moveTo>
                      <a:pt x="42" y="147"/>
                    </a:moveTo>
                    <a:lnTo>
                      <a:pt x="42" y="147"/>
                    </a:lnTo>
                    <a:lnTo>
                      <a:pt x="13" y="147"/>
                    </a:lnTo>
                    <a:lnTo>
                      <a:pt x="13" y="106"/>
                    </a:lnTo>
                    <a:lnTo>
                      <a:pt x="42" y="106"/>
                    </a:lnTo>
                    <a:lnTo>
                      <a:pt x="42" y="147"/>
                    </a:lnTo>
                    <a:close/>
                    <a:moveTo>
                      <a:pt x="42" y="93"/>
                    </a:moveTo>
                    <a:lnTo>
                      <a:pt x="42" y="93"/>
                    </a:lnTo>
                    <a:lnTo>
                      <a:pt x="13" y="93"/>
                    </a:lnTo>
                    <a:lnTo>
                      <a:pt x="13" y="52"/>
                    </a:lnTo>
                    <a:lnTo>
                      <a:pt x="42" y="52"/>
                    </a:lnTo>
                    <a:lnTo>
                      <a:pt x="42" y="93"/>
                    </a:lnTo>
                    <a:close/>
                    <a:moveTo>
                      <a:pt x="88" y="93"/>
                    </a:moveTo>
                    <a:lnTo>
                      <a:pt x="88" y="93"/>
                    </a:lnTo>
                    <a:lnTo>
                      <a:pt x="55" y="93"/>
                    </a:lnTo>
                    <a:lnTo>
                      <a:pt x="55" y="52"/>
                    </a:lnTo>
                    <a:lnTo>
                      <a:pt x="88" y="52"/>
                    </a:lnTo>
                    <a:lnTo>
                      <a:pt x="88" y="93"/>
                    </a:lnTo>
                    <a:close/>
                    <a:moveTo>
                      <a:pt x="88" y="38"/>
                    </a:moveTo>
                    <a:lnTo>
                      <a:pt x="88" y="38"/>
                    </a:lnTo>
                    <a:lnTo>
                      <a:pt x="55" y="38"/>
                    </a:lnTo>
                    <a:lnTo>
                      <a:pt x="55" y="13"/>
                    </a:lnTo>
                    <a:lnTo>
                      <a:pt x="88" y="13"/>
                    </a:lnTo>
                    <a:lnTo>
                      <a:pt x="88" y="38"/>
                    </a:lnTo>
                    <a:close/>
                    <a:moveTo>
                      <a:pt x="133" y="38"/>
                    </a:moveTo>
                    <a:lnTo>
                      <a:pt x="133" y="38"/>
                    </a:lnTo>
                    <a:lnTo>
                      <a:pt x="101" y="38"/>
                    </a:lnTo>
                    <a:lnTo>
                      <a:pt x="101" y="13"/>
                    </a:lnTo>
                    <a:lnTo>
                      <a:pt x="133" y="13"/>
                    </a:lnTo>
                    <a:lnTo>
                      <a:pt x="133" y="38"/>
                    </a:lnTo>
                    <a:close/>
                    <a:moveTo>
                      <a:pt x="147" y="13"/>
                    </a:moveTo>
                    <a:lnTo>
                      <a:pt x="147" y="13"/>
                    </a:lnTo>
                    <a:lnTo>
                      <a:pt x="179" y="13"/>
                    </a:lnTo>
                    <a:lnTo>
                      <a:pt x="179" y="38"/>
                    </a:lnTo>
                    <a:lnTo>
                      <a:pt x="147" y="38"/>
                    </a:lnTo>
                    <a:lnTo>
                      <a:pt x="147" y="13"/>
                    </a:lnTo>
                    <a:close/>
                    <a:moveTo>
                      <a:pt x="147" y="52"/>
                    </a:moveTo>
                    <a:lnTo>
                      <a:pt x="147" y="52"/>
                    </a:lnTo>
                    <a:lnTo>
                      <a:pt x="179" y="52"/>
                    </a:lnTo>
                    <a:lnTo>
                      <a:pt x="179" y="93"/>
                    </a:lnTo>
                    <a:lnTo>
                      <a:pt x="147" y="93"/>
                    </a:lnTo>
                    <a:lnTo>
                      <a:pt x="147" y="52"/>
                    </a:lnTo>
                    <a:close/>
                    <a:moveTo>
                      <a:pt x="133" y="147"/>
                    </a:moveTo>
                    <a:lnTo>
                      <a:pt x="133" y="147"/>
                    </a:lnTo>
                    <a:lnTo>
                      <a:pt x="101" y="147"/>
                    </a:lnTo>
                    <a:lnTo>
                      <a:pt x="101" y="106"/>
                    </a:lnTo>
                    <a:lnTo>
                      <a:pt x="133" y="106"/>
                    </a:lnTo>
                    <a:lnTo>
                      <a:pt x="133" y="147"/>
                    </a:lnTo>
                    <a:close/>
                    <a:moveTo>
                      <a:pt x="101" y="52"/>
                    </a:moveTo>
                    <a:lnTo>
                      <a:pt x="101" y="52"/>
                    </a:lnTo>
                    <a:lnTo>
                      <a:pt x="133" y="52"/>
                    </a:lnTo>
                    <a:lnTo>
                      <a:pt x="133" y="93"/>
                    </a:lnTo>
                    <a:lnTo>
                      <a:pt x="101" y="93"/>
                    </a:lnTo>
                    <a:lnTo>
                      <a:pt x="101" y="52"/>
                    </a:lnTo>
                    <a:close/>
                    <a:moveTo>
                      <a:pt x="222" y="38"/>
                    </a:moveTo>
                    <a:lnTo>
                      <a:pt x="222" y="38"/>
                    </a:lnTo>
                    <a:lnTo>
                      <a:pt x="193" y="38"/>
                    </a:lnTo>
                    <a:lnTo>
                      <a:pt x="193" y="13"/>
                    </a:lnTo>
                    <a:lnTo>
                      <a:pt x="222" y="13"/>
                    </a:lnTo>
                    <a:lnTo>
                      <a:pt x="222" y="38"/>
                    </a:lnTo>
                    <a:close/>
                    <a:moveTo>
                      <a:pt x="235" y="0"/>
                    </a:moveTo>
                    <a:lnTo>
                      <a:pt x="235" y="0"/>
                    </a:lnTo>
                    <a:lnTo>
                      <a:pt x="0" y="0"/>
                    </a:lnTo>
                    <a:lnTo>
                      <a:pt x="0" y="222"/>
                    </a:lnTo>
                    <a:lnTo>
                      <a:pt x="235" y="222"/>
                    </a:lnTo>
                    <a:lnTo>
                      <a:pt x="235" y="0"/>
                    </a:lnTo>
                    <a:close/>
                  </a:path>
                </a:pathLst>
              </a:custGeom>
              <a:grpFill/>
              <a:ln w="0">
                <a:solidFill>
                  <a:srgbClr val="666666">
                    <a:lumMod val="20000"/>
                    <a:lumOff val="80000"/>
                  </a:srgbClr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40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78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718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957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196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435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675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913" algn="l" defTabSz="914478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400">
                  <a:defRPr/>
                </a:pPr>
                <a:endParaRPr lang="zh-CN" altLang="en-US" sz="1100">
                  <a:ln>
                    <a:solidFill>
                      <a:srgbClr val="00B050"/>
                    </a:solidFill>
                  </a:ln>
                  <a:solidFill>
                    <a:srgbClr val="1D1D1A"/>
                  </a:solidFill>
                  <a:latin typeface="微软雅黑" panose="020B0503020204020204" pitchFamily="34" charset="-122"/>
                </a:endParaRPr>
              </a:p>
            </p:txBody>
          </p:sp>
        </p:grpSp>
      </p:grpSp>
      <p:sp>
        <p:nvSpPr>
          <p:cNvPr id="19" name="PA-文本框 44">
            <a:extLst>
              <a:ext uri="{FF2B5EF4-FFF2-40B4-BE49-F238E27FC236}">
                <a16:creationId xmlns:a16="http://schemas.microsoft.com/office/drawing/2014/main" id="{6E34531F-666A-457D-B76D-AB636D590B11}"/>
              </a:ext>
            </a:extLst>
          </p:cNvPr>
          <p:cNvSpPr txBox="1"/>
          <p:nvPr/>
        </p:nvSpPr>
        <p:spPr>
          <a:xfrm>
            <a:off x="904120" y="1260372"/>
            <a:ext cx="3099642" cy="369332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40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78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718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957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196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435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675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913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zh-CN" altLang="en-US" b="1" dirty="0">
                <a:solidFill>
                  <a:srgbClr val="C00000"/>
                </a:solidFill>
                <a:latin typeface="微软雅黑" panose="020B0503020204020204" pitchFamily="34" charset="-122"/>
              </a:rPr>
              <a:t>建设最佳体验网络</a:t>
            </a:r>
            <a:endParaRPr lang="en-US" altLang="zh-CN" b="1" dirty="0">
              <a:solidFill>
                <a:srgbClr val="C00000"/>
              </a:solidFill>
              <a:latin typeface="微软雅黑" panose="020B0503020204020204" pitchFamily="34" charset="-122"/>
              <a:sym typeface="+mn-lt"/>
            </a:endParaRPr>
          </a:p>
        </p:txBody>
      </p:sp>
      <p:sp>
        <p:nvSpPr>
          <p:cNvPr id="21" name="PA-文本框 44">
            <a:extLst>
              <a:ext uri="{FF2B5EF4-FFF2-40B4-BE49-F238E27FC236}">
                <a16:creationId xmlns:a16="http://schemas.microsoft.com/office/drawing/2014/main" id="{4710D8C6-1487-40FC-8C5C-3971CF70D45E}"/>
              </a:ext>
            </a:extLst>
          </p:cNvPr>
          <p:cNvSpPr txBox="1"/>
          <p:nvPr/>
        </p:nvSpPr>
        <p:spPr>
          <a:xfrm>
            <a:off x="8424322" y="1260372"/>
            <a:ext cx="2631559" cy="369332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40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78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718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957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196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435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675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913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zh-CN" altLang="en-US" b="1" dirty="0">
                <a:solidFill>
                  <a:srgbClr val="C00000"/>
                </a:solidFill>
                <a:latin typeface="微软雅黑" panose="020B0503020204020204" pitchFamily="34" charset="-122"/>
                <a:cs typeface="Huawei Sans Medium" panose="020C0603030203020204" pitchFamily="34" charset="0"/>
                <a:sym typeface="+mn-lt"/>
              </a:rPr>
              <a:t>助力绿色发展</a:t>
            </a:r>
            <a:endParaRPr lang="en-US" altLang="zh-CN" b="1" dirty="0">
              <a:solidFill>
                <a:srgbClr val="C00000"/>
              </a:solidFill>
              <a:latin typeface="微软雅黑" panose="020B0503020204020204" pitchFamily="34" charset="-122"/>
              <a:cs typeface="Huawei Sans Medium" panose="020C0603030203020204" pitchFamily="34" charset="0"/>
              <a:sym typeface="+mn-lt"/>
            </a:endParaRPr>
          </a:p>
        </p:txBody>
      </p:sp>
      <p:sp>
        <p:nvSpPr>
          <p:cNvPr id="28" name="PA-文本框 44">
            <a:extLst>
              <a:ext uri="{FF2B5EF4-FFF2-40B4-BE49-F238E27FC236}">
                <a16:creationId xmlns:a16="http://schemas.microsoft.com/office/drawing/2014/main" id="{C073A2BB-8678-432C-9DD4-651570EF6A80}"/>
              </a:ext>
            </a:extLst>
          </p:cNvPr>
          <p:cNvSpPr txBox="1"/>
          <p:nvPr/>
        </p:nvSpPr>
        <p:spPr>
          <a:xfrm>
            <a:off x="4715074" y="1260372"/>
            <a:ext cx="2759784" cy="369332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40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78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718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957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196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435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675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913" algn="l" defTabSz="9144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zh-CN" altLang="en-US" b="1" dirty="0">
                <a:solidFill>
                  <a:srgbClr val="C00000"/>
                </a:solidFill>
                <a:latin typeface="微软雅黑" panose="020B0503020204020204" pitchFamily="34" charset="-122"/>
              </a:rPr>
              <a:t>使能千行百业数字化</a:t>
            </a:r>
            <a:endParaRPr lang="en-US" altLang="zh-CN" b="1" dirty="0">
              <a:solidFill>
                <a:srgbClr val="C00000"/>
              </a:solidFill>
              <a:latin typeface="微软雅黑" panose="020B0503020204020204" pitchFamily="34" charset="-122"/>
              <a:sym typeface="+mn-lt"/>
            </a:endParaRPr>
          </a:p>
        </p:txBody>
      </p:sp>
      <p:pic>
        <p:nvPicPr>
          <p:cNvPr id="8196" name="Picture 4" descr="http://image.huawei.com/tiny-lts/v1/images/177c6115ec44baf2385cacda694049db_1024x683.jpg">
            <a:extLst>
              <a:ext uri="{FF2B5EF4-FFF2-40B4-BE49-F238E27FC236}">
                <a16:creationId xmlns:a16="http://schemas.microsoft.com/office/drawing/2014/main" id="{C154A95A-2861-4D76-8874-84651F180905}"/>
              </a:ext>
            </a:extLst>
          </p:cNvPr>
          <p:cNvPicPr>
            <a:picLocks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13074" y="1905237"/>
            <a:ext cx="2763783" cy="1556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矩形 21">
            <a:extLst>
              <a:ext uri="{FF2B5EF4-FFF2-40B4-BE49-F238E27FC236}">
                <a16:creationId xmlns:a16="http://schemas.microsoft.com/office/drawing/2014/main" id="{D9CE3F60-30AC-43FE-9D79-A9095A4CCD6B}"/>
              </a:ext>
            </a:extLst>
          </p:cNvPr>
          <p:cNvSpPr/>
          <p:nvPr/>
        </p:nvSpPr>
        <p:spPr>
          <a:xfrm>
            <a:off x="916152" y="3943191"/>
            <a:ext cx="3039177" cy="169225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lnSpc>
                <a:spcPct val="12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打造最佳体验的</a:t>
            </a:r>
            <a:r>
              <a:rPr lang="en-US" altLang="zh-CN" sz="14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5G</a:t>
            </a:r>
            <a:r>
              <a:rPr lang="zh-CN" altLang="en-US" sz="14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网络，</a:t>
            </a:r>
            <a:r>
              <a:rPr kumimoji="1" lang="zh-CN" altLang="en-US" sz="14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华为承建</a:t>
            </a:r>
            <a:r>
              <a:rPr kumimoji="1" lang="en-US" altLang="zh-CN" sz="14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5G</a:t>
            </a:r>
            <a:r>
              <a:rPr kumimoji="1" lang="zh-CN" altLang="en-US" sz="14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网络的用户体验在多家</a:t>
            </a:r>
            <a:r>
              <a:rPr kumimoji="1" lang="zh-CN" altLang="en-US" sz="1400" b="1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国际第三方机构测试中排名第一</a:t>
            </a:r>
            <a:endParaRPr kumimoji="1" lang="en-US" altLang="zh-CN" sz="1400" b="1" dirty="0">
              <a:solidFill>
                <a:srgbClr val="DDDDDD">
                  <a:lumMod val="10000"/>
                </a:srgbClr>
              </a:solidFill>
              <a:latin typeface="微软雅黑" panose="020B0503020204020204" pitchFamily="34" charset="-122"/>
            </a:endParaRP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zh-CN" altLang="en-US" sz="14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围绕客户价值创新，华为 </a:t>
            </a:r>
            <a:r>
              <a:rPr lang="en-US" altLang="zh-CN" sz="14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DD </a:t>
            </a:r>
            <a:r>
              <a:rPr lang="en-US" altLang="zh-CN" sz="1400" kern="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igaband</a:t>
            </a:r>
            <a:r>
              <a:rPr lang="en-US" altLang="zh-CN" sz="14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4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系列产品荣获</a:t>
            </a:r>
            <a:r>
              <a:rPr lang="en-US" altLang="zh-CN" sz="14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2</a:t>
            </a:r>
            <a:r>
              <a:rPr lang="zh-CN" altLang="en-US" sz="14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4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SMA</a:t>
            </a:r>
            <a:r>
              <a:rPr lang="zh-CN" altLang="en-US" sz="14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zh-CN" altLang="en-US" sz="14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最佳移动网络基础设施奖</a:t>
            </a:r>
            <a:r>
              <a:rPr lang="zh-CN" altLang="en-US" sz="14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endParaRPr kumimoji="1" lang="zh-CN" altLang="en-US" sz="1400" b="1" dirty="0">
              <a:solidFill>
                <a:srgbClr val="DDDDDD">
                  <a:lumMod val="10000"/>
                </a:srgbClr>
              </a:solidFill>
              <a:latin typeface="微软雅黑" panose="020B0503020204020204" pitchFamily="34" charset="-122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AAACED5-6ACE-45A3-A451-4018A736CD18}"/>
              </a:ext>
            </a:extLst>
          </p:cNvPr>
          <p:cNvSpPr/>
          <p:nvPr/>
        </p:nvSpPr>
        <p:spPr>
          <a:xfrm>
            <a:off x="8287956" y="3943096"/>
            <a:ext cx="2904290" cy="169225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 defTabSz="725851">
              <a:lnSpc>
                <a:spcPct val="120000"/>
              </a:lnSpc>
              <a:spcBef>
                <a:spcPts val="6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</a:rPr>
              <a:t>持续端到端创新，助力全球运营商打造性能、节能双优的绿色网络，向低碳发展</a:t>
            </a:r>
            <a:endParaRPr lang="en-US" altLang="zh-CN" sz="1400" dirty="0">
              <a:solidFill>
                <a:srgbClr val="DDDDDD">
                  <a:lumMod val="10000"/>
                </a:srgbClr>
              </a:solidFill>
              <a:latin typeface="微软雅黑" panose="020B0503020204020204" pitchFamily="34" charset="-122"/>
            </a:endParaRPr>
          </a:p>
          <a:p>
            <a:pPr marL="285750" indent="-285750" defTabSz="725851">
              <a:lnSpc>
                <a:spcPct val="120000"/>
              </a:lnSpc>
              <a:spcBef>
                <a:spcPts val="6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kumimoji="1" lang="en-US" altLang="zh-CN" sz="1400" b="1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sym typeface="微软雅黑" panose="020B0503020204020204" pitchFamily="34" charset="-122"/>
              </a:rPr>
              <a:t>100+</a:t>
            </a:r>
            <a:r>
              <a:rPr kumimoji="1" lang="zh-CN" altLang="en-US" sz="1400" b="1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sym typeface="微软雅黑" panose="020B0503020204020204" pitchFamily="34" charset="-122"/>
              </a:rPr>
              <a:t>个</a:t>
            </a:r>
            <a:r>
              <a:rPr kumimoji="1" lang="zh-CN" altLang="en-US" sz="14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sym typeface="微软雅黑" panose="020B0503020204020204" pitchFamily="34" charset="-122"/>
              </a:rPr>
              <a:t>国家已部署了华为低碳站点解决方案</a:t>
            </a:r>
            <a:r>
              <a:rPr kumimoji="1" lang="en-US" altLang="zh-CN" sz="14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sym typeface="微软雅黑" panose="020B0503020204020204" pitchFamily="34" charset="-122"/>
              </a:rPr>
              <a:t>,  </a:t>
            </a:r>
            <a:r>
              <a:rPr kumimoji="1" lang="zh-CN" altLang="en-US" sz="14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sym typeface="微软雅黑" panose="020B0503020204020204" pitchFamily="34" charset="-122"/>
              </a:rPr>
              <a:t>累计减少约</a:t>
            </a:r>
            <a:r>
              <a:rPr kumimoji="1" lang="en-US" altLang="zh-CN" sz="1400" b="1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sym typeface="微软雅黑" panose="020B0503020204020204" pitchFamily="34" charset="-122"/>
              </a:rPr>
              <a:t>4000</a:t>
            </a:r>
            <a:r>
              <a:rPr kumimoji="1" lang="zh-CN" altLang="en-US" sz="1400" b="1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sym typeface="微软雅黑" panose="020B0503020204020204" pitchFamily="34" charset="-122"/>
              </a:rPr>
              <a:t>万</a:t>
            </a:r>
            <a:r>
              <a:rPr kumimoji="1" lang="zh-CN" altLang="en-US" sz="14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sym typeface="微软雅黑" panose="020B0503020204020204" pitchFamily="34" charset="-122"/>
              </a:rPr>
              <a:t>吨碳排</a:t>
            </a:r>
            <a:endParaRPr kumimoji="1" lang="en-US" altLang="zh-CN" sz="1400" dirty="0">
              <a:solidFill>
                <a:srgbClr val="DDDDDD">
                  <a:lumMod val="10000"/>
                </a:srgbClr>
              </a:solidFill>
              <a:latin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55" name="梯形 54">
            <a:extLst>
              <a:ext uri="{FF2B5EF4-FFF2-40B4-BE49-F238E27FC236}">
                <a16:creationId xmlns:a16="http://schemas.microsoft.com/office/drawing/2014/main" id="{2A707B40-472E-4722-8419-660227D771E6}"/>
              </a:ext>
            </a:extLst>
          </p:cNvPr>
          <p:cNvSpPr/>
          <p:nvPr/>
        </p:nvSpPr>
        <p:spPr bwMode="auto">
          <a:xfrm>
            <a:off x="872614" y="3359194"/>
            <a:ext cx="3162653" cy="298188"/>
          </a:xfrm>
          <a:prstGeom prst="trapezoid">
            <a:avLst>
              <a:gd name="adj" fmla="val 199712"/>
            </a:avLst>
          </a:prstGeom>
          <a:gradFill>
            <a:gsLst>
              <a:gs pos="0">
                <a:srgbClr val="666666">
                  <a:lumMod val="40000"/>
                  <a:lumOff val="60000"/>
                  <a:alpha val="27000"/>
                </a:srgbClr>
              </a:gs>
              <a:gs pos="67000">
                <a:srgbClr val="666666">
                  <a:lumMod val="40000"/>
                  <a:lumOff val="60000"/>
                  <a:alpha val="0"/>
                </a:srgbClr>
              </a:gs>
            </a:gsLst>
            <a:lin ang="16200000" scaled="1"/>
          </a:gradFill>
          <a:ln w="6350" cap="flat" cmpd="sng" algn="ctr">
            <a:gradFill flip="none" rotWithShape="1">
              <a:gsLst>
                <a:gs pos="0">
                  <a:srgbClr val="666666">
                    <a:lumMod val="40000"/>
                    <a:lumOff val="60000"/>
                  </a:srgbClr>
                </a:gs>
                <a:gs pos="71000">
                  <a:srgbClr val="666666">
                    <a:lumMod val="40000"/>
                    <a:lumOff val="60000"/>
                    <a:alpha val="0"/>
                  </a:srgbClr>
                </a:gs>
              </a:gsLst>
              <a:lin ang="16200000" scaled="1"/>
              <a:tileRect/>
            </a:gradFill>
            <a:prstDash val="solid"/>
            <a:miter lim="800000"/>
          </a:ln>
          <a:effectLst/>
        </p:spPr>
        <p:txBody>
          <a:bodyPr lIns="108008" tIns="45724" rIns="91447" bIns="45724" anchor="ctr">
            <a:noAutofit/>
          </a:bodyPr>
          <a:lstStyle/>
          <a:p>
            <a:pPr defTabSz="1219540" fontAlgn="ctr">
              <a:defRPr/>
            </a:pPr>
            <a:endParaRPr lang="en-US" sz="1100" b="1" kern="0" dirty="0">
              <a:solidFill>
                <a:prstClr val="black">
                  <a:lumMod val="75000"/>
                  <a:lumOff val="25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56" name="梯形 55">
            <a:extLst>
              <a:ext uri="{FF2B5EF4-FFF2-40B4-BE49-F238E27FC236}">
                <a16:creationId xmlns:a16="http://schemas.microsoft.com/office/drawing/2014/main" id="{758EF7E3-33D3-46E3-9439-8C5426088705}"/>
              </a:ext>
            </a:extLst>
          </p:cNvPr>
          <p:cNvSpPr/>
          <p:nvPr/>
        </p:nvSpPr>
        <p:spPr bwMode="auto">
          <a:xfrm>
            <a:off x="4513639" y="3359194"/>
            <a:ext cx="3162653" cy="298188"/>
          </a:xfrm>
          <a:prstGeom prst="trapezoid">
            <a:avLst>
              <a:gd name="adj" fmla="val 199712"/>
            </a:avLst>
          </a:prstGeom>
          <a:gradFill>
            <a:gsLst>
              <a:gs pos="0">
                <a:srgbClr val="666666">
                  <a:lumMod val="40000"/>
                  <a:lumOff val="60000"/>
                  <a:alpha val="27000"/>
                </a:srgbClr>
              </a:gs>
              <a:gs pos="67000">
                <a:srgbClr val="666666">
                  <a:lumMod val="40000"/>
                  <a:lumOff val="60000"/>
                  <a:alpha val="0"/>
                </a:srgbClr>
              </a:gs>
            </a:gsLst>
            <a:lin ang="16200000" scaled="1"/>
          </a:gradFill>
          <a:ln w="6350" cap="flat" cmpd="sng" algn="ctr">
            <a:gradFill flip="none" rotWithShape="1">
              <a:gsLst>
                <a:gs pos="0">
                  <a:srgbClr val="666666">
                    <a:lumMod val="40000"/>
                    <a:lumOff val="60000"/>
                  </a:srgbClr>
                </a:gs>
                <a:gs pos="71000">
                  <a:srgbClr val="666666">
                    <a:lumMod val="40000"/>
                    <a:lumOff val="60000"/>
                    <a:alpha val="0"/>
                  </a:srgbClr>
                </a:gs>
              </a:gsLst>
              <a:lin ang="16200000" scaled="1"/>
              <a:tileRect/>
            </a:gradFill>
            <a:prstDash val="solid"/>
            <a:miter lim="800000"/>
          </a:ln>
          <a:effectLst/>
        </p:spPr>
        <p:txBody>
          <a:bodyPr lIns="108008" tIns="45724" rIns="91447" bIns="45724" anchor="ctr">
            <a:noAutofit/>
          </a:bodyPr>
          <a:lstStyle/>
          <a:p>
            <a:pPr defTabSz="1219540" fontAlgn="ctr">
              <a:defRPr/>
            </a:pPr>
            <a:endParaRPr lang="en-US" sz="1100" b="1" kern="0" dirty="0">
              <a:solidFill>
                <a:prstClr val="black">
                  <a:lumMod val="75000"/>
                  <a:lumOff val="25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57" name="梯形 56">
            <a:extLst>
              <a:ext uri="{FF2B5EF4-FFF2-40B4-BE49-F238E27FC236}">
                <a16:creationId xmlns:a16="http://schemas.microsoft.com/office/drawing/2014/main" id="{65E62ACA-1DFE-4FA8-8015-0694A3E3A7E5}"/>
              </a:ext>
            </a:extLst>
          </p:cNvPr>
          <p:cNvSpPr/>
          <p:nvPr/>
        </p:nvSpPr>
        <p:spPr bwMode="auto">
          <a:xfrm>
            <a:off x="8158774" y="3359194"/>
            <a:ext cx="3162653" cy="298188"/>
          </a:xfrm>
          <a:prstGeom prst="trapezoid">
            <a:avLst>
              <a:gd name="adj" fmla="val 199712"/>
            </a:avLst>
          </a:prstGeom>
          <a:gradFill>
            <a:gsLst>
              <a:gs pos="0">
                <a:srgbClr val="666666">
                  <a:lumMod val="40000"/>
                  <a:lumOff val="60000"/>
                  <a:alpha val="27000"/>
                </a:srgbClr>
              </a:gs>
              <a:gs pos="67000">
                <a:srgbClr val="666666">
                  <a:lumMod val="40000"/>
                  <a:lumOff val="60000"/>
                  <a:alpha val="0"/>
                </a:srgbClr>
              </a:gs>
            </a:gsLst>
            <a:lin ang="16200000" scaled="1"/>
          </a:gradFill>
          <a:ln w="6350" cap="flat" cmpd="sng" algn="ctr">
            <a:gradFill flip="none" rotWithShape="1">
              <a:gsLst>
                <a:gs pos="0">
                  <a:srgbClr val="666666">
                    <a:lumMod val="40000"/>
                    <a:lumOff val="60000"/>
                  </a:srgbClr>
                </a:gs>
                <a:gs pos="71000">
                  <a:srgbClr val="666666">
                    <a:lumMod val="40000"/>
                    <a:lumOff val="60000"/>
                    <a:alpha val="0"/>
                  </a:srgbClr>
                </a:gs>
              </a:gsLst>
              <a:lin ang="16200000" scaled="1"/>
              <a:tileRect/>
            </a:gradFill>
            <a:prstDash val="solid"/>
            <a:miter lim="800000"/>
          </a:ln>
          <a:effectLst/>
        </p:spPr>
        <p:txBody>
          <a:bodyPr lIns="108008" tIns="45724" rIns="91447" bIns="45724" anchor="ctr">
            <a:noAutofit/>
          </a:bodyPr>
          <a:lstStyle/>
          <a:p>
            <a:pPr defTabSz="1219540" fontAlgn="ctr">
              <a:defRPr/>
            </a:pPr>
            <a:endParaRPr lang="en-US" sz="1100" b="1" kern="0" dirty="0">
              <a:solidFill>
                <a:prstClr val="black">
                  <a:lumMod val="75000"/>
                  <a:lumOff val="25000"/>
                </a:prstClr>
              </a:solidFill>
              <a:cs typeface="arial" panose="020B0604020202020204" pitchFamily="34" charset="0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84046" y="1915513"/>
            <a:ext cx="2753071" cy="1549467"/>
          </a:xfrm>
          <a:prstGeom prst="rect">
            <a:avLst/>
          </a:prstGeom>
        </p:spPr>
      </p:pic>
      <p:sp>
        <p:nvSpPr>
          <p:cNvPr id="31" name="矩形 30">
            <a:extLst>
              <a:ext uri="{FF2B5EF4-FFF2-40B4-BE49-F238E27FC236}">
                <a16:creationId xmlns:a16="http://schemas.microsoft.com/office/drawing/2014/main" id="{5F79B9A0-F371-4B60-9277-50BACC0AE93A}"/>
              </a:ext>
            </a:extLst>
          </p:cNvPr>
          <p:cNvSpPr/>
          <p:nvPr/>
        </p:nvSpPr>
        <p:spPr>
          <a:xfrm>
            <a:off x="4632187" y="3941546"/>
            <a:ext cx="2904290" cy="20918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 defTabSz="725851">
              <a:lnSpc>
                <a:spcPct val="120000"/>
              </a:lnSpc>
              <a:spcBef>
                <a:spcPts val="6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联合全球运营商，为千行百业数字化转型</a:t>
            </a:r>
            <a:r>
              <a:rPr lang="zh-CN" altLang="en-US" sz="1400" b="1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打造坚实的</a:t>
            </a:r>
            <a:r>
              <a:rPr lang="en-US" altLang="zh-CN" sz="1400" b="1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CT</a:t>
            </a:r>
            <a:r>
              <a:rPr lang="zh-CN" altLang="en-US" sz="1400" b="1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础设施</a:t>
            </a:r>
            <a:endParaRPr lang="en-US" altLang="zh-CN" sz="1400" b="1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defTabSz="725851">
              <a:lnSpc>
                <a:spcPct val="120000"/>
              </a:lnSpc>
              <a:spcBef>
                <a:spcPts val="6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携手运营商、合作伙伴共落地</a:t>
            </a:r>
            <a:r>
              <a:rPr lang="en-US" altLang="zh-CN" sz="1400" b="1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,000+ </a:t>
            </a:r>
            <a:r>
              <a:rPr lang="en-US" altLang="zh-CN" sz="14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G</a:t>
            </a:r>
            <a:r>
              <a:rPr lang="zh-CN" altLang="en-US" sz="14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行业应用项目，推动</a:t>
            </a:r>
            <a:r>
              <a:rPr lang="en-US" altLang="zh-CN" sz="14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G</a:t>
            </a:r>
            <a:r>
              <a:rPr lang="zh-CN" altLang="en-US" sz="14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行业解决方案在多个应用场景规模复制</a:t>
            </a:r>
            <a:endParaRPr lang="en-US" altLang="zh-CN" sz="14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defTabSz="725851">
              <a:lnSpc>
                <a:spcPct val="120000"/>
              </a:lnSpc>
              <a:spcBef>
                <a:spcPts val="6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endParaRPr kumimoji="1" lang="en-US" altLang="zh-CN" sz="1400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909702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矩形 41">
            <a:extLst>
              <a:ext uri="{FF2B5EF4-FFF2-40B4-BE49-F238E27FC236}">
                <a16:creationId xmlns:a16="http://schemas.microsoft.com/office/drawing/2014/main" id="{A8B604F5-7C2B-40A4-9FB7-9B396B8ADB25}"/>
              </a:ext>
            </a:extLst>
          </p:cNvPr>
          <p:cNvSpPr/>
          <p:nvPr/>
        </p:nvSpPr>
        <p:spPr>
          <a:xfrm>
            <a:off x="6190894" y="1170133"/>
            <a:ext cx="5264506" cy="328955"/>
          </a:xfrm>
          <a:prstGeom prst="rect">
            <a:avLst/>
          </a:prstGeom>
          <a:gradFill flip="none" rotWithShape="1">
            <a:gsLst>
              <a:gs pos="40000">
                <a:srgbClr val="666666">
                  <a:lumMod val="60000"/>
                  <a:lumOff val="40000"/>
                  <a:alpha val="0"/>
                </a:srgbClr>
              </a:gs>
              <a:gs pos="95000">
                <a:srgbClr val="666666">
                  <a:lumMod val="60000"/>
                  <a:lumOff val="40000"/>
                  <a:alpha val="20000"/>
                </a:srgb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gradFill flip="none" rotWithShape="1">
              <a:gsLst>
                <a:gs pos="50000">
                  <a:srgbClr val="FFFFFF">
                    <a:alpha val="10000"/>
                  </a:srgbClr>
                </a:gs>
                <a:gs pos="90000">
                  <a:srgbClr val="666666">
                    <a:lumMod val="60000"/>
                    <a:lumOff val="40000"/>
                    <a:alpha val="0"/>
                  </a:srgbClr>
                </a:gs>
                <a:gs pos="10000">
                  <a:srgbClr val="666666">
                    <a:lumMod val="60000"/>
                    <a:lumOff val="40000"/>
                    <a:alpha val="0"/>
                  </a:srgbClr>
                </a:gs>
                <a:gs pos="0">
                  <a:srgbClr val="666666">
                    <a:lumMod val="60000"/>
                    <a:lumOff val="40000"/>
                    <a:alpha val="80000"/>
                  </a:srgbClr>
                </a:gs>
                <a:gs pos="100000">
                  <a:srgbClr val="666666">
                    <a:lumMod val="60000"/>
                    <a:lumOff val="40000"/>
                    <a:alpha val="80000"/>
                  </a:srgbClr>
                </a:gs>
              </a:gsLst>
              <a:lin ang="0" scaled="0"/>
              <a:tileRect/>
            </a:gra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 anchorCtr="1"/>
          <a:lstStyle/>
          <a:p>
            <a:pPr algn="ctr"/>
            <a:r>
              <a:rPr lang="zh-CN" altLang="en-US" b="1" dirty="0">
                <a:solidFill>
                  <a:srgbClr val="C00000"/>
                </a:solidFill>
                <a:latin typeface="微软雅黑" panose="020B0503020204020204" pitchFamily="34" charset="-122"/>
              </a:rPr>
              <a:t>行业认可</a:t>
            </a:r>
          </a:p>
        </p:txBody>
      </p: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F6878A40-F253-43BD-B3AF-400CF27E1E4F}"/>
              </a:ext>
            </a:extLst>
          </p:cNvPr>
          <p:cNvGrpSpPr/>
          <p:nvPr/>
        </p:nvGrpSpPr>
        <p:grpSpPr>
          <a:xfrm>
            <a:off x="871182" y="4842922"/>
            <a:ext cx="4940854" cy="1236845"/>
            <a:chOff x="739102" y="5098734"/>
            <a:chExt cx="4940854" cy="976090"/>
          </a:xfrm>
        </p:grpSpPr>
        <p:sp>
          <p:nvSpPr>
            <p:cNvPr id="4" name="矩形 3"/>
            <p:cNvSpPr/>
            <p:nvPr/>
          </p:nvSpPr>
          <p:spPr>
            <a:xfrm>
              <a:off x="740783" y="5410689"/>
              <a:ext cx="4939173" cy="645623"/>
            </a:xfrm>
            <a:prstGeom prst="rect">
              <a:avLst/>
            </a:prstGeom>
            <a:gradFill>
              <a:gsLst>
                <a:gs pos="100000">
                  <a:schemeClr val="bg1">
                    <a:lumMod val="60000"/>
                    <a:lumOff val="40000"/>
                    <a:alpha val="0"/>
                  </a:schemeClr>
                </a:gs>
                <a:gs pos="33000">
                  <a:schemeClr val="bg1">
                    <a:lumMod val="60000"/>
                    <a:lumOff val="40000"/>
                    <a:alpha val="15000"/>
                  </a:schemeClr>
                </a:gs>
              </a:gsLst>
              <a:lin ang="5400000" scaled="0"/>
            </a:gradFill>
            <a:ln w="6350">
              <a:gradFill>
                <a:gsLst>
                  <a:gs pos="0">
                    <a:schemeClr val="bg1">
                      <a:lumMod val="40000"/>
                      <a:lumOff val="60000"/>
                    </a:schemeClr>
                  </a:gs>
                  <a:gs pos="100000">
                    <a:schemeClr val="bg1">
                      <a:lumMod val="40000"/>
                      <a:lumOff val="60000"/>
                      <a:alpha val="0"/>
                    </a:schemeClr>
                  </a:gs>
                </a:gsLst>
                <a:lin ang="5400000" scaled="0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defTabSz="914477">
                <a:lnSpc>
                  <a:spcPct val="120000"/>
                </a:lnSpc>
              </a:pPr>
              <a:endParaRPr kumimoji="1" lang="zh-CN" altLang="en-US" sz="1200">
                <a:solidFill>
                  <a:srgbClr val="FFFFFF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21" name="文本框 20"/>
            <p:cNvSpPr txBox="1"/>
            <p:nvPr/>
          </p:nvSpPr>
          <p:spPr>
            <a:xfrm>
              <a:off x="1325415" y="5537268"/>
              <a:ext cx="3769909" cy="5375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zh-CN" altLang="en-US" sz="1796" b="1" dirty="0">
                  <a:solidFill>
                    <a:srgbClr val="1D1D1A"/>
                  </a:solidFill>
                  <a:latin typeface="微软雅黑" panose="020B0503020204020204" pitchFamily="34" charset="-122"/>
                  <a:sym typeface="微软雅黑" panose="020B0503020204020204" pitchFamily="34" charset="-122"/>
                </a:rPr>
                <a:t>服务全球</a:t>
              </a:r>
              <a:r>
                <a:rPr lang="en-US" altLang="zh-CN" sz="1796" b="1" dirty="0">
                  <a:solidFill>
                    <a:srgbClr val="1D1D1A"/>
                  </a:solidFill>
                  <a:latin typeface="微软雅黑" panose="020B0503020204020204" pitchFamily="34" charset="-122"/>
                  <a:sym typeface="微软雅黑" panose="020B0503020204020204" pitchFamily="34" charset="-122"/>
                </a:rPr>
                <a:t>500</a:t>
              </a:r>
              <a:r>
                <a:rPr lang="zh-CN" altLang="en-US" sz="1796" b="1" dirty="0">
                  <a:solidFill>
                    <a:srgbClr val="1D1D1A"/>
                  </a:solidFill>
                  <a:latin typeface="微软雅黑" panose="020B0503020204020204" pitchFamily="34" charset="-122"/>
                  <a:sym typeface="微软雅黑" panose="020B0503020204020204" pitchFamily="34" charset="-122"/>
                </a:rPr>
                <a:t>强企业中的</a:t>
              </a:r>
              <a:r>
                <a:rPr lang="en-US" altLang="zh-CN" sz="2800" b="1" dirty="0">
                  <a:solidFill>
                    <a:srgbClr val="C00000"/>
                  </a:solidFill>
                  <a:latin typeface="微软雅黑" panose="020B0503020204020204" pitchFamily="34" charset="-122"/>
                  <a:sym typeface="微软雅黑" panose="020B0503020204020204" pitchFamily="34" charset="-122"/>
                </a:rPr>
                <a:t>267</a:t>
              </a:r>
              <a:r>
                <a:rPr lang="zh-CN" altLang="en-US" sz="1796" b="1" dirty="0">
                  <a:solidFill>
                    <a:srgbClr val="1D1D1A"/>
                  </a:solidFill>
                  <a:latin typeface="微软雅黑" panose="020B0503020204020204" pitchFamily="34" charset="-122"/>
                  <a:sym typeface="微软雅黑" panose="020B0503020204020204" pitchFamily="34" charset="-122"/>
                </a:rPr>
                <a:t>家</a:t>
              </a:r>
              <a:endParaRPr lang="en-US" altLang="zh-CN" sz="1796" b="1" dirty="0">
                <a:solidFill>
                  <a:srgbClr val="1D1D1A"/>
                </a:solidFill>
                <a:latin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23" name="梯形 22"/>
            <p:cNvSpPr/>
            <p:nvPr/>
          </p:nvSpPr>
          <p:spPr>
            <a:xfrm>
              <a:off x="739102" y="5098734"/>
              <a:ext cx="4940852" cy="311954"/>
            </a:xfrm>
            <a:prstGeom prst="trapezoid">
              <a:avLst>
                <a:gd name="adj" fmla="val 122891"/>
              </a:avLst>
            </a:prstGeom>
            <a:gradFill>
              <a:gsLst>
                <a:gs pos="0">
                  <a:srgbClr val="666666">
                    <a:lumMod val="40000"/>
                    <a:lumOff val="60000"/>
                    <a:alpha val="27000"/>
                  </a:srgbClr>
                </a:gs>
                <a:gs pos="67000">
                  <a:srgbClr val="666666">
                    <a:lumMod val="40000"/>
                    <a:lumOff val="60000"/>
                    <a:alpha val="0"/>
                  </a:srgbClr>
                </a:gs>
              </a:gsLst>
              <a:lin ang="16200000" scaled="1"/>
            </a:gradFill>
            <a:ln w="6350" cap="flat" cmpd="sng" algn="ctr">
              <a:gradFill flip="none" rotWithShape="1">
                <a:gsLst>
                  <a:gs pos="0">
                    <a:srgbClr val="666666">
                      <a:lumMod val="40000"/>
                      <a:lumOff val="60000"/>
                    </a:srgbClr>
                  </a:gs>
                  <a:gs pos="71000">
                    <a:srgbClr val="666666">
                      <a:lumMod val="40000"/>
                      <a:lumOff val="60000"/>
                      <a:alpha val="0"/>
                    </a:srgbClr>
                  </a:gs>
                </a:gsLst>
                <a:lin ang="16200000" scaled="1"/>
                <a:tileRect/>
              </a:gradFill>
              <a:prstDash val="solid"/>
              <a:miter lim="800000"/>
            </a:ln>
            <a:effectLst>
              <a:outerShdw blurRad="50800" dist="38100" dir="5400000" sx="99000" sy="99000" algn="ctr" rotWithShape="0">
                <a:srgbClr val="000000">
                  <a:alpha val="10000"/>
                </a:srgbClr>
              </a:outerShdw>
            </a:effectLst>
          </p:spPr>
          <p:txBody>
            <a:bodyPr lIns="108008" tIns="45724" rIns="91447" bIns="45724" anchor="ctr">
              <a:noAutofit/>
            </a:bodyPr>
            <a:lstStyle/>
            <a:p>
              <a:pPr defTabSz="1219540" fontAlgn="ctr"/>
              <a:endParaRPr lang="zh-CN" altLang="en-US" sz="1100" b="1" kern="0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14" name="矩形 13"/>
          <p:cNvSpPr/>
          <p:nvPr/>
        </p:nvSpPr>
        <p:spPr>
          <a:xfrm>
            <a:off x="6190894" y="1495450"/>
            <a:ext cx="5264506" cy="4555566"/>
          </a:xfrm>
          <a:prstGeom prst="rect">
            <a:avLst/>
          </a:prstGeom>
          <a:gradFill flip="none" rotWithShape="1">
            <a:gsLst>
              <a:gs pos="38000">
                <a:srgbClr val="666666">
                  <a:lumMod val="60000"/>
                  <a:lumOff val="40000"/>
                  <a:alpha val="0"/>
                </a:srgbClr>
              </a:gs>
              <a:gs pos="100000">
                <a:srgbClr val="666666">
                  <a:lumMod val="60000"/>
                  <a:lumOff val="40000"/>
                  <a:alpha val="10000"/>
                </a:srgbClr>
              </a:gs>
            </a:gsLst>
            <a:path path="shape">
              <a:fillToRect l="50000" t="50000" r="50000" b="50000"/>
            </a:path>
            <a:tileRect/>
          </a:gradFill>
          <a:ln w="6350" cap="flat" cmpd="sng" algn="ctr">
            <a:gradFill flip="none" rotWithShape="1">
              <a:gsLst>
                <a:gs pos="0">
                  <a:srgbClr val="666666">
                    <a:lumMod val="60000"/>
                    <a:lumOff val="40000"/>
                    <a:alpha val="80000"/>
                  </a:srgbClr>
                </a:gs>
                <a:gs pos="100000">
                  <a:srgbClr val="666666">
                    <a:lumMod val="60000"/>
                    <a:lumOff val="40000"/>
                    <a:alpha val="40000"/>
                  </a:srgbClr>
                </a:gs>
              </a:gsLst>
              <a:lin ang="0" scaled="0"/>
              <a:tileRect/>
            </a:gra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0" tIns="0" rIns="0" bIns="0" anchor="ctr" anchorCtr="1"/>
          <a:lstStyle/>
          <a:p>
            <a:pPr algn="ctr" defTabSz="914355"/>
            <a:endParaRPr lang="zh-CN" altLang="en-US" sz="1200" b="1" kern="0" spc="5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6249550" y="1557478"/>
            <a:ext cx="5142052" cy="44935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>
                <a:solidFill>
                  <a:srgbClr val="1D1D1A"/>
                </a:solidFill>
                <a:latin typeface="微软雅黑" panose="020B0503020204020204" pitchFamily="34" charset="-122"/>
              </a:rPr>
              <a:t>智慧城市</a:t>
            </a:r>
            <a:endParaRPr lang="en-US" altLang="zh-CN" sz="1400" b="1" dirty="0">
              <a:solidFill>
                <a:srgbClr val="1D1D1A"/>
              </a:solidFill>
              <a:latin typeface="微软雅黑" panose="020B0503020204020204" pitchFamily="34" charset="-122"/>
            </a:endParaRPr>
          </a:p>
          <a:p>
            <a:pPr marL="285750" indent="-285750" defTabSz="1219304"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华为城市智能体助力武汉市、苏州市、上海市黄浦区获“</a:t>
            </a:r>
            <a:r>
              <a:rPr lang="en-US" altLang="zh-CN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2021</a:t>
            </a:r>
            <a:r>
              <a:rPr lang="zh-CN" altLang="en-US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年全球智慧城市博览会中国站城市大奖”</a:t>
            </a:r>
          </a:p>
          <a:p>
            <a:pPr defTabSz="1219304">
              <a:spcBef>
                <a:spcPts val="600"/>
              </a:spcBef>
              <a:defRPr/>
            </a:pP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</a:rPr>
              <a:t>金融领域</a:t>
            </a:r>
            <a:endParaRPr lang="en-US" altLang="zh-CN" sz="1400" b="1" dirty="0">
              <a:solidFill>
                <a:srgbClr val="1D1D1A"/>
              </a:solidFill>
              <a:latin typeface="微软雅黑" panose="020B0503020204020204" pitchFamily="34" charset="-122"/>
            </a:endParaRPr>
          </a:p>
          <a:p>
            <a:pPr marL="285750" indent="-285750" defTabSz="1219304"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民生信用卡</a:t>
            </a:r>
            <a:r>
              <a:rPr lang="en-US" altLang="zh-CN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-</a:t>
            </a:r>
            <a:r>
              <a:rPr lang="zh-CN" altLang="en-US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华为“大数据联合创新实验室”荣获</a:t>
            </a:r>
            <a:r>
              <a:rPr lang="en-US" altLang="zh-CN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《</a:t>
            </a:r>
            <a:r>
              <a:rPr lang="zh-CN" altLang="en-US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亚洲银行家</a:t>
            </a:r>
            <a:r>
              <a:rPr lang="en-US" altLang="zh-CN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》</a:t>
            </a:r>
            <a:r>
              <a:rPr lang="zh-CN" altLang="en-US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“中国最佳</a:t>
            </a:r>
            <a:r>
              <a:rPr lang="en-US" altLang="zh-CN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AI</a:t>
            </a:r>
            <a:r>
              <a:rPr lang="zh-CN" altLang="en-US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创新实验室奖”</a:t>
            </a:r>
            <a:endParaRPr lang="en-US" altLang="zh-CN" sz="1400" dirty="0">
              <a:solidFill>
                <a:srgbClr val="1D1D1A"/>
              </a:solidFill>
              <a:latin typeface="微软雅黑" panose="020B0503020204020204" pitchFamily="34" charset="-122"/>
            </a:endParaRPr>
          </a:p>
          <a:p>
            <a:pPr marL="285750" indent="-285750" defTabSz="1219304"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助力招行摘得</a:t>
            </a:r>
            <a:r>
              <a:rPr lang="en-US" altLang="zh-CN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2021</a:t>
            </a:r>
            <a:r>
              <a:rPr lang="en-US" altLang="zh-CN" sz="1400" b="1" dirty="0">
                <a:solidFill>
                  <a:srgbClr val="1D1D1A"/>
                </a:solidFill>
                <a:latin typeface="微软雅黑" panose="020B0503020204020204" pitchFamily="34" charset="-122"/>
              </a:rPr>
              <a:t> </a:t>
            </a:r>
            <a:r>
              <a:rPr lang="en-US" altLang="zh-CN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IDC</a:t>
            </a:r>
            <a:r>
              <a:rPr lang="zh-CN" altLang="en-US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“金融行业技术应用场景创新优秀案例奖”</a:t>
            </a:r>
            <a:endParaRPr lang="en-US" altLang="zh-CN" sz="1400" dirty="0">
              <a:solidFill>
                <a:srgbClr val="1D1D1A"/>
              </a:solidFill>
              <a:latin typeface="微软雅黑" panose="020B0503020204020204" pitchFamily="34" charset="-122"/>
            </a:endParaRPr>
          </a:p>
          <a:p>
            <a:pPr defTabSz="1219304">
              <a:spcBef>
                <a:spcPts val="600"/>
              </a:spcBef>
              <a:defRPr/>
            </a:pPr>
            <a:r>
              <a:rPr lang="zh-CN" altLang="en-US" sz="1400" b="1" dirty="0">
                <a:solidFill>
                  <a:srgbClr val="1D1D1A"/>
                </a:solidFill>
                <a:latin typeface="微软雅黑" panose="020B0503020204020204" pitchFamily="34" charset="-122"/>
              </a:rPr>
              <a:t>交通领域</a:t>
            </a:r>
            <a:endParaRPr lang="en-US" altLang="zh-CN" sz="1400" b="1" dirty="0">
              <a:solidFill>
                <a:srgbClr val="1D1D1A"/>
              </a:solidFill>
              <a:latin typeface="微软雅黑" panose="020B0503020204020204" pitchFamily="34" charset="-122"/>
            </a:endParaRPr>
          </a:p>
          <a:p>
            <a:pPr marL="285750" indent="-285750" defTabSz="1219304"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华为助力深圳机场获</a:t>
            </a:r>
            <a:r>
              <a:rPr lang="en-US" altLang="zh-CN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2021</a:t>
            </a:r>
            <a:r>
              <a:rPr lang="zh-CN" altLang="en-US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年度</a:t>
            </a:r>
            <a:r>
              <a:rPr lang="en-US" altLang="zh-CN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SKYTRAX“</a:t>
            </a:r>
            <a:r>
              <a:rPr lang="zh-CN" altLang="en-US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五星机场”年度全球最佳机场之一；</a:t>
            </a:r>
            <a:r>
              <a:rPr lang="en-US" altLang="zh-CN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2021</a:t>
            </a:r>
            <a:r>
              <a:rPr lang="zh-CN" altLang="en-US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年</a:t>
            </a:r>
            <a:r>
              <a:rPr lang="en-US" altLang="zh-CN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ACI </a:t>
            </a:r>
            <a:r>
              <a:rPr lang="zh-CN" altLang="en-US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（国际机场协会）满意度排名全球第一；未来机场项目荣获中国项目管理协会（</a:t>
            </a:r>
            <a:r>
              <a:rPr lang="en-US" altLang="zh-CN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PMI</a:t>
            </a:r>
            <a:r>
              <a:rPr lang="zh-CN" altLang="en-US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）“</a:t>
            </a:r>
            <a:r>
              <a:rPr lang="en-US" altLang="zh-CN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2021</a:t>
            </a:r>
            <a:r>
              <a:rPr lang="zh-CN" altLang="en-US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年度杰出项目奖”</a:t>
            </a:r>
            <a:endParaRPr lang="en-US" altLang="zh-CN" sz="1400" dirty="0">
              <a:solidFill>
                <a:srgbClr val="1D1D1A"/>
              </a:solidFill>
              <a:latin typeface="微软雅黑" panose="020B0503020204020204" pitchFamily="34" charset="-122"/>
            </a:endParaRPr>
          </a:p>
          <a:p>
            <a:pPr>
              <a:spcBef>
                <a:spcPts val="600"/>
              </a:spcBef>
            </a:pPr>
            <a:r>
              <a:rPr lang="zh-CN" altLang="en-US" sz="1400" b="1" dirty="0">
                <a:solidFill>
                  <a:srgbClr val="1D1D1A"/>
                </a:solidFill>
                <a:latin typeface="微软雅黑" panose="020B0503020204020204" pitchFamily="34" charset="-122"/>
              </a:rPr>
              <a:t>能源领域</a:t>
            </a:r>
            <a:endParaRPr lang="en-US" altLang="zh-CN" sz="1400" b="1" dirty="0">
              <a:solidFill>
                <a:srgbClr val="1D1D1A"/>
              </a:solidFill>
              <a:latin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荣获第五届</a:t>
            </a:r>
            <a:r>
              <a:rPr lang="en-US" altLang="zh-CN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IEEE</a:t>
            </a:r>
            <a:r>
              <a:rPr lang="zh-CN" altLang="en-US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能源互联网与能源系统集成国际会议“优秀论文奖”</a:t>
            </a:r>
            <a:endParaRPr lang="en-US" altLang="zh-CN" sz="1400" dirty="0">
              <a:solidFill>
                <a:srgbClr val="1D1D1A"/>
              </a:solidFill>
              <a:latin typeface="微软雅黑" panose="020B0503020204020204" pitchFamily="34" charset="-122"/>
            </a:endParaRPr>
          </a:p>
          <a:p>
            <a:pPr>
              <a:spcBef>
                <a:spcPts val="600"/>
              </a:spcBef>
            </a:pPr>
            <a:r>
              <a:rPr lang="zh-CN" altLang="en-US" sz="1400" b="1" dirty="0">
                <a:solidFill>
                  <a:srgbClr val="1D1D1A"/>
                </a:solidFill>
                <a:latin typeface="微软雅黑" panose="020B0503020204020204" pitchFamily="34" charset="-122"/>
              </a:rPr>
              <a:t>制造领域</a:t>
            </a:r>
            <a:endParaRPr lang="en-US" altLang="zh-CN" sz="1400" b="1" dirty="0">
              <a:solidFill>
                <a:srgbClr val="1D1D1A"/>
              </a:solidFill>
              <a:latin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荣获“中国工业互联网年度优秀解决方案大奖”，并助力广汽本田黄埔工厂荣获“</a:t>
            </a:r>
            <a:r>
              <a:rPr lang="en-US" altLang="zh-CN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2021</a:t>
            </a:r>
            <a:r>
              <a:rPr lang="zh-CN" altLang="en-US" sz="1400" dirty="0">
                <a:solidFill>
                  <a:srgbClr val="1D1D1A"/>
                </a:solidFill>
                <a:latin typeface="微软雅黑" panose="020B0503020204020204" pitchFamily="34" charset="-122"/>
              </a:rPr>
              <a:t>先进工业网络标杆智能工厂”</a:t>
            </a:r>
            <a:endParaRPr lang="en-US" altLang="zh-CN" sz="1400" dirty="0">
              <a:solidFill>
                <a:srgbClr val="1D1D1A"/>
              </a:solidFill>
              <a:latin typeface="微软雅黑" panose="020B0503020204020204" pitchFamily="34" charset="-122"/>
            </a:endParaRPr>
          </a:p>
        </p:txBody>
      </p:sp>
      <p:sp>
        <p:nvSpPr>
          <p:cNvPr id="32" name="副标题 1">
            <a:extLst>
              <a:ext uri="{FF2B5EF4-FFF2-40B4-BE49-F238E27FC236}">
                <a16:creationId xmlns:a16="http://schemas.microsoft.com/office/drawing/2014/main" id="{7B5F7D96-CBE9-43BC-A37E-7AD696F90C48}"/>
              </a:ext>
            </a:extLst>
          </p:cNvPr>
          <p:cNvSpPr txBox="1">
            <a:spLocks/>
          </p:cNvSpPr>
          <p:nvPr/>
        </p:nvSpPr>
        <p:spPr>
          <a:xfrm>
            <a:off x="723899" y="447675"/>
            <a:ext cx="1147286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96950" indent="-296950" algn="l" defTabSz="1187798" rtl="0" eaLnBrk="1" latinLnBrk="0" hangingPunct="1">
              <a:lnSpc>
                <a:spcPct val="90000"/>
              </a:lnSpc>
              <a:spcBef>
                <a:spcPts val="1299"/>
              </a:spcBef>
              <a:buFont typeface="Arial" panose="020B0604020202020204" pitchFamily="34" charset="0"/>
              <a:buChar char="•"/>
              <a:defRPr sz="36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90849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84748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5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78648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72547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6447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60346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54245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48144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zh-CN" altLang="en-US" sz="2800" dirty="0">
                <a:solidFill>
                  <a:srgbClr val="1D1D1A"/>
                </a:solidFill>
                <a:latin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企业业务：深耕行业数字化</a:t>
            </a:r>
            <a:r>
              <a:rPr lang="zh-CN" altLang="zh-CN" sz="2800" dirty="0">
                <a:solidFill>
                  <a:srgbClr val="1D1D1A"/>
                </a:solidFill>
                <a:latin typeface="微软雅黑" panose="020B0503020204020204" pitchFamily="34" charset="-122"/>
                <a:cs typeface="+mn-ea"/>
              </a:rPr>
              <a:t>场景、模式</a:t>
            </a:r>
            <a:r>
              <a:rPr lang="zh-CN" altLang="en-US" sz="2800" dirty="0">
                <a:solidFill>
                  <a:srgbClr val="1D1D1A"/>
                </a:solidFill>
                <a:latin typeface="微软雅黑" panose="020B0503020204020204" pitchFamily="34" charset="-122"/>
                <a:cs typeface="+mn-ea"/>
              </a:rPr>
              <a:t>与</a:t>
            </a:r>
            <a:r>
              <a:rPr lang="zh-CN" altLang="zh-CN" sz="2800" dirty="0">
                <a:solidFill>
                  <a:srgbClr val="1D1D1A"/>
                </a:solidFill>
                <a:latin typeface="微软雅黑" panose="020B0503020204020204" pitchFamily="34" charset="-122"/>
                <a:cs typeface="+mn-ea"/>
              </a:rPr>
              <a:t>生态</a:t>
            </a:r>
            <a:r>
              <a:rPr lang="zh-CN" altLang="en-US" sz="2800" dirty="0">
                <a:solidFill>
                  <a:srgbClr val="1D1D1A"/>
                </a:solidFill>
                <a:latin typeface="微软雅黑" panose="020B0503020204020204" pitchFamily="34" charset="-122"/>
                <a:cs typeface="+mn-ea"/>
              </a:rPr>
              <a:t>，获得行业的广泛认可</a:t>
            </a:r>
            <a:endParaRPr lang="zh-CN" altLang="en-US" sz="2800" dirty="0">
              <a:solidFill>
                <a:srgbClr val="1D1D1A"/>
              </a:solidFill>
              <a:latin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26" name="矩形 334"/>
          <p:cNvSpPr>
            <a:spLocks noChangeArrowheads="1"/>
          </p:cNvSpPr>
          <p:nvPr/>
        </p:nvSpPr>
        <p:spPr bwMode="auto">
          <a:xfrm>
            <a:off x="4599870" y="3476593"/>
            <a:ext cx="174210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914400">
              <a:buClr>
                <a:srgbClr val="CC9900"/>
              </a:buClr>
            </a:pPr>
            <a:r>
              <a:rPr lang="en-US" altLang="zh-CN" sz="1400" dirty="0">
                <a:solidFill>
                  <a:srgbClr val="C00000"/>
                </a:solidFill>
                <a:latin typeface="微软雅黑" panose="020B0503020204020204" pitchFamily="34" charset="-122"/>
                <a:cs typeface="Arial" pitchFamily="34" charset="0"/>
                <a:sym typeface="微软雅黑" panose="020B0503020204020204" pitchFamily="34" charset="-122"/>
              </a:rPr>
              <a:t>150,000+</a:t>
            </a:r>
            <a:r>
              <a:rPr lang="zh-CN" altLang="en-US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微软雅黑" panose="020B0503020204020204" pitchFamily="34" charset="-122"/>
                <a:cs typeface="Arial" pitchFamily="34" charset="0"/>
                <a:sym typeface="微软雅黑" panose="020B0503020204020204" pitchFamily="34" charset="-122"/>
              </a:rPr>
              <a:t>公里</a:t>
            </a:r>
            <a:r>
              <a:rPr lang="en-US" altLang="zh-CN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微软雅黑" panose="020B0503020204020204" pitchFamily="34" charset="-122"/>
                <a:cs typeface="Arial" pitchFamily="34" charset="0"/>
                <a:sym typeface="微软雅黑" panose="020B0503020204020204" pitchFamily="34" charset="-122"/>
              </a:rPr>
              <a:t> </a:t>
            </a:r>
          </a:p>
          <a:p>
            <a:pPr algn="ctr" defTabSz="914400">
              <a:buClr>
                <a:srgbClr val="CC9900"/>
              </a:buClr>
            </a:pPr>
            <a:r>
              <a:rPr lang="zh-CN" altLang="en-US" sz="10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itchFamily="34" charset="0"/>
                <a:sym typeface="微软雅黑" panose="020B0503020204020204" pitchFamily="34" charset="-122"/>
              </a:rPr>
              <a:t>高速公路</a:t>
            </a:r>
          </a:p>
        </p:txBody>
      </p: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EBAE1285-3775-4D5C-B41D-939730CA5D02}"/>
              </a:ext>
            </a:extLst>
          </p:cNvPr>
          <p:cNvGrpSpPr/>
          <p:nvPr/>
        </p:nvGrpSpPr>
        <p:grpSpPr>
          <a:xfrm>
            <a:off x="407234" y="1164611"/>
            <a:ext cx="5350730" cy="3940586"/>
            <a:chOff x="407234" y="1271670"/>
            <a:chExt cx="5350730" cy="3940586"/>
          </a:xfrm>
        </p:grpSpPr>
        <p:sp>
          <p:nvSpPr>
            <p:cNvPr id="2" name="椭圆 1"/>
            <p:cNvSpPr/>
            <p:nvPr/>
          </p:nvSpPr>
          <p:spPr>
            <a:xfrm>
              <a:off x="1858480" y="1597844"/>
              <a:ext cx="2864615" cy="2864615"/>
            </a:xfrm>
            <a:prstGeom prst="ellipse">
              <a:avLst/>
            </a:prstGeom>
            <a:noFill/>
            <a:ln w="19050">
              <a:solidFill>
                <a:schemeClr val="bg1">
                  <a:lumMod val="40000"/>
                  <a:lumOff val="6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zh-CN" altLang="en-US" sz="1799">
                <a:solidFill>
                  <a:srgbClr val="666666"/>
                </a:solidFill>
              </a:endParaRPr>
            </a:p>
          </p:txBody>
        </p:sp>
        <p:sp>
          <p:nvSpPr>
            <p:cNvPr id="7" name="矩形 17"/>
            <p:cNvSpPr>
              <a:spLocks noChangeArrowheads="1"/>
            </p:cNvSpPr>
            <p:nvPr/>
          </p:nvSpPr>
          <p:spPr bwMode="auto">
            <a:xfrm>
              <a:off x="4116966" y="1416431"/>
              <a:ext cx="956352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defTabSz="914400">
                <a:buClr>
                  <a:srgbClr val="CC9900"/>
                </a:buClr>
              </a:pPr>
              <a:r>
                <a:rPr lang="en-US" altLang="zh-CN" sz="1400" dirty="0">
                  <a:solidFill>
                    <a:srgbClr val="C00000"/>
                  </a:solidFill>
                  <a:latin typeface="微软雅黑" panose="020B0503020204020204" pitchFamily="34" charset="-122"/>
                  <a:cs typeface="Arial" pitchFamily="34" charset="0"/>
                  <a:sym typeface="微软雅黑" panose="020B0503020204020204" pitchFamily="34" charset="-122"/>
                </a:rPr>
                <a:t>48/TOP100</a:t>
              </a:r>
            </a:p>
            <a:p>
              <a:pPr algn="ctr" defTabSz="914400">
                <a:buClr>
                  <a:srgbClr val="CC9900"/>
                </a:buClr>
              </a:pPr>
              <a:r>
                <a:rPr lang="zh-CN" altLang="en-US" sz="1000" dirty="0">
                  <a:solidFill>
                    <a:srgbClr val="DDDDDD">
                      <a:lumMod val="10000"/>
                    </a:srgbClr>
                  </a:solidFill>
                  <a:latin typeface="微软雅黑" panose="020B0503020204020204" pitchFamily="34" charset="-122"/>
                  <a:cs typeface="Arial" pitchFamily="34" charset="0"/>
                  <a:sym typeface="微软雅黑" panose="020B0503020204020204" pitchFamily="34" charset="-122"/>
                </a:rPr>
                <a:t>金融机构</a:t>
              </a:r>
              <a:endParaRPr lang="en-US" altLang="zh-CN" sz="10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8" name="矩形 334"/>
            <p:cNvSpPr>
              <a:spLocks noChangeArrowheads="1"/>
            </p:cNvSpPr>
            <p:nvPr/>
          </p:nvSpPr>
          <p:spPr bwMode="auto">
            <a:xfrm>
              <a:off x="4622972" y="1991004"/>
              <a:ext cx="980140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914400">
                <a:buClr>
                  <a:srgbClr val="CC9900"/>
                </a:buClr>
              </a:pPr>
              <a:r>
                <a:rPr lang="en-US" altLang="zh-CN" sz="1400" dirty="0">
                  <a:solidFill>
                    <a:srgbClr val="C00000"/>
                  </a:solidFill>
                  <a:latin typeface="微软雅黑" panose="020B0503020204020204" pitchFamily="34" charset="-122"/>
                  <a:cs typeface="Arial" pitchFamily="34" charset="0"/>
                  <a:sym typeface="微软雅黑" panose="020B0503020204020204" pitchFamily="34" charset="-122"/>
                </a:rPr>
                <a:t>300+</a:t>
              </a:r>
              <a:r>
                <a:rPr lang="zh-CN" altLang="en-US" sz="1000" dirty="0">
                  <a:solidFill>
                    <a:srgbClr val="DDDDDD">
                      <a:lumMod val="10000"/>
                    </a:srgbClr>
                  </a:solidFill>
                  <a:latin typeface="微软雅黑" panose="020B0503020204020204" pitchFamily="34" charset="-122"/>
                  <a:cs typeface="Arial" pitchFamily="34" charset="0"/>
                  <a:sym typeface="微软雅黑" panose="020B0503020204020204" pitchFamily="34" charset="-122"/>
                </a:rPr>
                <a:t>线路</a:t>
              </a:r>
              <a:r>
                <a:rPr lang="en-US" altLang="zh-CN" sz="1000" dirty="0">
                  <a:solidFill>
                    <a:srgbClr val="DDDDDD">
                      <a:lumMod val="10000"/>
                    </a:srgbClr>
                  </a:solidFill>
                  <a:latin typeface="微软雅黑" panose="020B0503020204020204" pitchFamily="34" charset="-122"/>
                  <a:cs typeface="Arial" pitchFamily="34" charset="0"/>
                  <a:sym typeface="微软雅黑" panose="020B0503020204020204" pitchFamily="34" charset="-122"/>
                </a:rPr>
                <a:t> </a:t>
              </a:r>
            </a:p>
            <a:p>
              <a:pPr algn="ctr" defTabSz="914400">
                <a:buClr>
                  <a:srgbClr val="CC9900"/>
                </a:buClr>
              </a:pPr>
              <a:r>
                <a:rPr lang="zh-CN" altLang="en-US" sz="1000" dirty="0">
                  <a:solidFill>
                    <a:srgbClr val="DDDDDD">
                      <a:lumMod val="10000"/>
                    </a:srgbClr>
                  </a:solidFill>
                  <a:latin typeface="微软雅黑" panose="020B0503020204020204" pitchFamily="34" charset="-122"/>
                  <a:cs typeface="Arial" pitchFamily="34" charset="0"/>
                  <a:sym typeface="微软雅黑" panose="020B0503020204020204" pitchFamily="34" charset="-122"/>
                </a:rPr>
                <a:t>城轨</a:t>
              </a:r>
            </a:p>
          </p:txBody>
        </p:sp>
        <p:sp>
          <p:nvSpPr>
            <p:cNvPr id="9" name="矩形 336"/>
            <p:cNvSpPr>
              <a:spLocks noChangeArrowheads="1"/>
            </p:cNvSpPr>
            <p:nvPr/>
          </p:nvSpPr>
          <p:spPr bwMode="auto">
            <a:xfrm>
              <a:off x="1332413" y="1991004"/>
              <a:ext cx="512961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defTabSz="914400">
                <a:buClr>
                  <a:srgbClr val="CC9900"/>
                </a:buClr>
              </a:pPr>
              <a:r>
                <a:rPr lang="en-US" altLang="zh-CN" sz="1400" dirty="0">
                  <a:solidFill>
                    <a:srgbClr val="C00000"/>
                  </a:solidFill>
                  <a:latin typeface="微软雅黑" panose="020B0503020204020204" pitchFamily="34" charset="-122"/>
                  <a:cs typeface="Arial" pitchFamily="34" charset="0"/>
                  <a:sym typeface="微软雅黑" panose="020B0503020204020204" pitchFamily="34" charset="-122"/>
                </a:rPr>
                <a:t>190+ </a:t>
              </a:r>
            </a:p>
            <a:p>
              <a:pPr algn="ctr" defTabSz="914400">
                <a:buClr>
                  <a:srgbClr val="CC9900"/>
                </a:buClr>
              </a:pPr>
              <a:r>
                <a:rPr lang="zh-CN" altLang="en-US" sz="1000" dirty="0">
                  <a:solidFill>
                    <a:srgbClr val="DDDDDD">
                      <a:lumMod val="10000"/>
                    </a:srgbClr>
                  </a:solidFill>
                  <a:latin typeface="微软雅黑" panose="020B0503020204020204" pitchFamily="34" charset="-122"/>
                  <a:cs typeface="Arial" pitchFamily="34" charset="0"/>
                  <a:sym typeface="微软雅黑" panose="020B0503020204020204" pitchFamily="34" charset="-122"/>
                </a:rPr>
                <a:t>电力公司</a:t>
              </a:r>
            </a:p>
          </p:txBody>
        </p:sp>
        <p:pic>
          <p:nvPicPr>
            <p:cNvPr id="13" name="Picture 4" descr="C:\Users\z00124665\Desktop\18551776.png"/>
            <p:cNvPicPr>
              <a:picLocks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2513382" y="1271670"/>
              <a:ext cx="820800" cy="820800"/>
            </a:xfrm>
            <a:prstGeom prst="rect">
              <a:avLst/>
            </a:prstGeom>
            <a:noFill/>
            <a:ln>
              <a:noFill/>
            </a:ln>
            <a:effectLst/>
          </p:spPr>
        </p:pic>
        <p:pic>
          <p:nvPicPr>
            <p:cNvPr id="15" name="Picture 4" descr="C:\Users\z00124665\Desktop\18551776.png"/>
            <p:cNvPicPr>
              <a:picLocks noChangeArrowheads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878967" y="1765270"/>
              <a:ext cx="820800" cy="820800"/>
            </a:xfrm>
            <a:prstGeom prst="ellipse">
              <a:avLst/>
            </a:prstGeom>
            <a:noFill/>
            <a:ln>
              <a:noFill/>
            </a:ln>
            <a:effectLst/>
          </p:spPr>
        </p:pic>
        <p:sp>
          <p:nvSpPr>
            <p:cNvPr id="19" name="矩形 338"/>
            <p:cNvSpPr>
              <a:spLocks noChangeArrowheads="1"/>
            </p:cNvSpPr>
            <p:nvPr/>
          </p:nvSpPr>
          <p:spPr bwMode="auto">
            <a:xfrm>
              <a:off x="1985962" y="1416431"/>
              <a:ext cx="512961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defTabSz="914400">
                <a:buClr>
                  <a:srgbClr val="CC9900"/>
                </a:buClr>
              </a:pPr>
              <a:r>
                <a:rPr lang="en-US" altLang="zh-CN" sz="1400" dirty="0">
                  <a:solidFill>
                    <a:srgbClr val="C00000"/>
                  </a:solidFill>
                  <a:latin typeface="微软雅黑" panose="020B0503020204020204" pitchFamily="34" charset="-122"/>
                  <a:cs typeface="Arial" pitchFamily="34" charset="0"/>
                  <a:sym typeface="微软雅黑" panose="020B0503020204020204" pitchFamily="34" charset="-122"/>
                </a:rPr>
                <a:t>700+</a:t>
              </a:r>
              <a:r>
                <a:rPr lang="zh-CN" altLang="en-US" sz="1400" dirty="0">
                  <a:solidFill>
                    <a:srgbClr val="C00000"/>
                  </a:solidFill>
                  <a:latin typeface="微软雅黑" panose="020B0503020204020204" pitchFamily="34" charset="-122"/>
                  <a:cs typeface="Arial" pitchFamily="34" charset="0"/>
                  <a:sym typeface="微软雅黑" panose="020B0503020204020204" pitchFamily="34" charset="-122"/>
                </a:rPr>
                <a:t> </a:t>
              </a:r>
              <a:endParaRPr lang="en-US" altLang="zh-CN" sz="1400" dirty="0">
                <a:solidFill>
                  <a:srgbClr val="C00000"/>
                </a:solidFill>
                <a:latin typeface="微软雅黑" panose="020B0503020204020204" pitchFamily="34" charset="-122"/>
                <a:cs typeface="Arial" pitchFamily="34" charset="0"/>
                <a:sym typeface="微软雅黑" panose="020B0503020204020204" pitchFamily="34" charset="-122"/>
              </a:endParaRPr>
            </a:p>
            <a:p>
              <a:pPr algn="ctr" defTabSz="914400">
                <a:buClr>
                  <a:srgbClr val="CC9900"/>
                </a:buClr>
              </a:pPr>
              <a:r>
                <a:rPr lang="zh-CN" altLang="en-US" sz="1000" dirty="0">
                  <a:solidFill>
                    <a:srgbClr val="DDDDDD">
                      <a:lumMod val="10000"/>
                    </a:srgbClr>
                  </a:solidFill>
                  <a:latin typeface="微软雅黑" panose="020B0503020204020204" pitchFamily="34" charset="-122"/>
                  <a:cs typeface="Arial" pitchFamily="34" charset="0"/>
                  <a:sym typeface="微软雅黑" panose="020B0503020204020204" pitchFamily="34" charset="-122"/>
                </a:rPr>
                <a:t>智慧城市</a:t>
              </a:r>
              <a:endParaRPr lang="en-US" altLang="zh-CN" sz="10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24" name="矩形 336"/>
            <p:cNvSpPr>
              <a:spLocks noChangeArrowheads="1"/>
            </p:cNvSpPr>
            <p:nvPr/>
          </p:nvSpPr>
          <p:spPr bwMode="auto">
            <a:xfrm>
              <a:off x="710710" y="2741224"/>
              <a:ext cx="850554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defTabSz="914400">
                <a:buClr>
                  <a:srgbClr val="CC9900"/>
                </a:buClr>
              </a:pPr>
              <a:r>
                <a:rPr lang="en-US" altLang="zh-CN" sz="1400" dirty="0">
                  <a:solidFill>
                    <a:srgbClr val="C00000"/>
                  </a:solidFill>
                  <a:latin typeface="微软雅黑" panose="020B0503020204020204" pitchFamily="34" charset="-122"/>
                  <a:cs typeface="Arial" pitchFamily="34" charset="0"/>
                  <a:sym typeface="微软雅黑" panose="020B0503020204020204" pitchFamily="34" charset="-122"/>
                </a:rPr>
                <a:t>17/TOP20</a:t>
              </a:r>
            </a:p>
            <a:p>
              <a:pPr algn="ctr" defTabSz="914400">
                <a:buClr>
                  <a:srgbClr val="CC9900"/>
                </a:buClr>
              </a:pPr>
              <a:r>
                <a:rPr lang="zh-CN" altLang="en-US" sz="1000" dirty="0">
                  <a:solidFill>
                    <a:srgbClr val="DDDDDD">
                      <a:lumMod val="10000"/>
                    </a:srgbClr>
                  </a:solidFill>
                  <a:latin typeface="微软雅黑" panose="020B0503020204020204" pitchFamily="34" charset="-122"/>
                  <a:cs typeface="Arial" pitchFamily="34" charset="0"/>
                  <a:sym typeface="微软雅黑" panose="020B0503020204020204" pitchFamily="34" charset="-122"/>
                </a:rPr>
                <a:t>油气公司</a:t>
              </a:r>
            </a:p>
          </p:txBody>
        </p:sp>
        <p:sp>
          <p:nvSpPr>
            <p:cNvPr id="28" name="矩形 334"/>
            <p:cNvSpPr>
              <a:spLocks noChangeArrowheads="1"/>
            </p:cNvSpPr>
            <p:nvPr/>
          </p:nvSpPr>
          <p:spPr bwMode="auto">
            <a:xfrm>
              <a:off x="407234" y="3476593"/>
              <a:ext cx="1742107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914400">
                <a:buClr>
                  <a:srgbClr val="CC9900"/>
                </a:buClr>
              </a:pPr>
              <a:r>
                <a:rPr lang="en-US" altLang="zh-CN" sz="1400" dirty="0">
                  <a:solidFill>
                    <a:srgbClr val="C00000"/>
                  </a:solidFill>
                  <a:latin typeface="微软雅黑" panose="020B0503020204020204" pitchFamily="34" charset="-122"/>
                  <a:cs typeface="Arial" pitchFamily="34" charset="0"/>
                  <a:sym typeface="微软雅黑" panose="020B0503020204020204" pitchFamily="34" charset="-122"/>
                </a:rPr>
                <a:t>6,000+</a:t>
              </a:r>
              <a:r>
                <a:rPr lang="en-US" altLang="zh-CN" sz="10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cs typeface="Arial" pitchFamily="34" charset="0"/>
                  <a:sym typeface="微软雅黑" panose="020B0503020204020204" pitchFamily="34" charset="-122"/>
                </a:rPr>
                <a:t> </a:t>
              </a:r>
            </a:p>
            <a:p>
              <a:pPr algn="ctr" defTabSz="914400">
                <a:buClr>
                  <a:srgbClr val="CC9900"/>
                </a:buClr>
              </a:pPr>
              <a:r>
                <a:rPr lang="zh-CN" altLang="en-US" sz="1000" dirty="0">
                  <a:solidFill>
                    <a:srgbClr val="DDDDDD">
                      <a:lumMod val="10000"/>
                    </a:srgbClr>
                  </a:solidFill>
                  <a:latin typeface="微软雅黑" panose="020B0503020204020204" pitchFamily="34" charset="-122"/>
                  <a:cs typeface="Arial" pitchFamily="34" charset="0"/>
                  <a:sym typeface="微软雅黑" panose="020B0503020204020204" pitchFamily="34" charset="-122"/>
                </a:rPr>
                <a:t>制造企业</a:t>
              </a:r>
            </a:p>
          </p:txBody>
        </p:sp>
        <p:sp>
          <p:nvSpPr>
            <p:cNvPr id="31" name="矩形 334"/>
            <p:cNvSpPr>
              <a:spLocks noChangeArrowheads="1"/>
            </p:cNvSpPr>
            <p:nvPr/>
          </p:nvSpPr>
          <p:spPr bwMode="auto">
            <a:xfrm>
              <a:off x="1368641" y="4091446"/>
              <a:ext cx="842072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914400">
                <a:buClr>
                  <a:srgbClr val="CC9900"/>
                </a:buClr>
              </a:pPr>
              <a:r>
                <a:rPr lang="en-US" altLang="zh-CN" sz="1400" dirty="0">
                  <a:solidFill>
                    <a:srgbClr val="C00000"/>
                  </a:solidFill>
                  <a:latin typeface="微软雅黑" panose="020B0503020204020204" pitchFamily="34" charset="-122"/>
                  <a:cs typeface="Arial" pitchFamily="34" charset="0"/>
                  <a:sym typeface="微软雅黑" panose="020B0503020204020204" pitchFamily="34" charset="-122"/>
                </a:rPr>
                <a:t>100+</a:t>
              </a:r>
              <a:r>
                <a:rPr lang="en-US" altLang="zh-CN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cs typeface="Arial" pitchFamily="34" charset="0"/>
                  <a:sym typeface="微软雅黑" panose="020B0503020204020204" pitchFamily="34" charset="-122"/>
                </a:rPr>
                <a:t> </a:t>
              </a:r>
            </a:p>
            <a:p>
              <a:pPr algn="ctr" defTabSz="914400">
                <a:buClr>
                  <a:srgbClr val="CC9900"/>
                </a:buClr>
              </a:pPr>
              <a:r>
                <a:rPr lang="zh-CN" altLang="en-US" sz="1000" dirty="0">
                  <a:solidFill>
                    <a:srgbClr val="DDDDDD">
                      <a:lumMod val="10000"/>
                    </a:srgbClr>
                  </a:solidFill>
                  <a:latin typeface="微软雅黑" panose="020B0503020204020204" pitchFamily="34" charset="-122"/>
                  <a:cs typeface="Arial" pitchFamily="34" charset="0"/>
                  <a:sym typeface="微软雅黑" panose="020B0503020204020204" pitchFamily="34" charset="-122"/>
                </a:rPr>
                <a:t>港口</a:t>
              </a:r>
              <a:r>
                <a:rPr lang="en-US" altLang="zh-CN" sz="1000" dirty="0">
                  <a:solidFill>
                    <a:srgbClr val="DDDDDD">
                      <a:lumMod val="10000"/>
                    </a:srgbClr>
                  </a:solidFill>
                  <a:latin typeface="微软雅黑" panose="020B0503020204020204" pitchFamily="34" charset="-122"/>
                  <a:cs typeface="Arial" pitchFamily="34" charset="0"/>
                  <a:sym typeface="微软雅黑" panose="020B0503020204020204" pitchFamily="34" charset="-122"/>
                </a:rPr>
                <a:t>&amp;</a:t>
              </a:r>
              <a:r>
                <a:rPr lang="zh-CN" altLang="en-US" sz="1000" dirty="0">
                  <a:solidFill>
                    <a:srgbClr val="DDDDDD">
                      <a:lumMod val="10000"/>
                    </a:srgbClr>
                  </a:solidFill>
                  <a:latin typeface="微软雅黑" panose="020B0503020204020204" pitchFamily="34" charset="-122"/>
                  <a:cs typeface="Arial" pitchFamily="34" charset="0"/>
                  <a:sym typeface="微软雅黑" panose="020B0503020204020204" pitchFamily="34" charset="-122"/>
                </a:rPr>
                <a:t>口岸</a:t>
              </a:r>
            </a:p>
          </p:txBody>
        </p:sp>
        <p:pic>
          <p:nvPicPr>
            <p:cNvPr id="33" name="Picture 2" descr="C:\Users\t00171831\Desktop\港口胶片\营口港.jpg"/>
            <p:cNvPicPr>
              <a:picLocks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70710" y="3988112"/>
              <a:ext cx="576000" cy="576000"/>
            </a:xfrm>
            <a:prstGeom prst="ellipse">
              <a:avLst/>
            </a:prstGeom>
            <a:noFill/>
            <a:ln>
              <a:noFill/>
            </a:ln>
            <a:effectLst/>
          </p:spPr>
        </p:pic>
        <p:pic>
          <p:nvPicPr>
            <p:cNvPr id="34" name="Picture 2" descr="http://image.huawei.com/tiny-lts/v1/images/336b05f082b473236e8d23b43beea37e_1024x682.jpg"/>
            <p:cNvPicPr>
              <a:picLocks noChangeArrowheads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697962" y="3373259"/>
              <a:ext cx="576000" cy="576000"/>
            </a:xfrm>
            <a:prstGeom prst="ellips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图片 16"/>
            <p:cNvPicPr>
              <a:picLocks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634465" y="2637890"/>
              <a:ext cx="576000" cy="576000"/>
            </a:xfrm>
            <a:prstGeom prst="ellipse">
              <a:avLst/>
            </a:prstGeom>
            <a:noFill/>
            <a:ln>
              <a:noFill/>
            </a:ln>
            <a:effectLst/>
          </p:spPr>
        </p:pic>
        <p:pic>
          <p:nvPicPr>
            <p:cNvPr id="35" name="图片 34"/>
            <p:cNvPicPr>
              <a:picLocks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29596" y="2637890"/>
              <a:ext cx="576000" cy="576000"/>
            </a:xfrm>
            <a:prstGeom prst="ellipse">
              <a:avLst/>
            </a:prstGeom>
            <a:noFill/>
            <a:ln>
              <a:noFill/>
            </a:ln>
            <a:effectLst/>
          </p:spPr>
        </p:pic>
        <p:pic>
          <p:nvPicPr>
            <p:cNvPr id="36" name="图片 35"/>
            <p:cNvPicPr>
              <a:picLocks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07142" y="3373259"/>
              <a:ext cx="576000" cy="576000"/>
            </a:xfrm>
            <a:prstGeom prst="ellipse">
              <a:avLst/>
            </a:prstGeom>
            <a:noFill/>
            <a:ln>
              <a:noFill/>
            </a:ln>
            <a:effectLst/>
          </p:spPr>
        </p:pic>
        <p:sp>
          <p:nvSpPr>
            <p:cNvPr id="30" name="矩形 334"/>
            <p:cNvSpPr>
              <a:spLocks noChangeArrowheads="1"/>
            </p:cNvSpPr>
            <p:nvPr/>
          </p:nvSpPr>
          <p:spPr bwMode="auto">
            <a:xfrm>
              <a:off x="2840230" y="4842924"/>
              <a:ext cx="901115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914400">
                <a:buClr>
                  <a:srgbClr val="CC9900"/>
                </a:buClr>
              </a:pPr>
              <a:r>
                <a:rPr lang="en-US" altLang="zh-CN" sz="1400" dirty="0">
                  <a:solidFill>
                    <a:srgbClr val="C00000"/>
                  </a:solidFill>
                  <a:latin typeface="微软雅黑" panose="020B0503020204020204" pitchFamily="34" charset="-122"/>
                  <a:cs typeface="Arial" pitchFamily="34" charset="0"/>
                  <a:sym typeface="微软雅黑" panose="020B0503020204020204" pitchFamily="34" charset="-122"/>
                </a:rPr>
                <a:t>800+</a:t>
              </a:r>
              <a:r>
                <a:rPr lang="en-US" altLang="zh-CN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cs typeface="Arial" pitchFamily="34" charset="0"/>
                  <a:sym typeface="微软雅黑" panose="020B0503020204020204" pitchFamily="34" charset="-122"/>
                </a:rPr>
                <a:t> </a:t>
              </a:r>
            </a:p>
            <a:p>
              <a:pPr algn="ctr" defTabSz="914400">
                <a:buClr>
                  <a:srgbClr val="CC9900"/>
                </a:buClr>
              </a:pPr>
              <a:r>
                <a:rPr lang="zh-CN" altLang="en-US" sz="1000" dirty="0">
                  <a:solidFill>
                    <a:srgbClr val="DDDDDD">
                      <a:lumMod val="10000"/>
                    </a:srgbClr>
                  </a:solidFill>
                  <a:latin typeface="微软雅黑" panose="020B0503020204020204" pitchFamily="34" charset="-122"/>
                  <a:cs typeface="Arial" pitchFamily="34" charset="0"/>
                  <a:sym typeface="微软雅黑" panose="020B0503020204020204" pitchFamily="34" charset="-122"/>
                </a:rPr>
                <a:t>矿山</a:t>
              </a:r>
            </a:p>
          </p:txBody>
        </p:sp>
        <p:sp>
          <p:nvSpPr>
            <p:cNvPr id="39" name="矩形 334"/>
            <p:cNvSpPr>
              <a:spLocks noChangeArrowheads="1"/>
            </p:cNvSpPr>
            <p:nvPr/>
          </p:nvSpPr>
          <p:spPr bwMode="auto">
            <a:xfrm>
              <a:off x="4856849" y="2741224"/>
              <a:ext cx="901115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914400">
                <a:buClr>
                  <a:srgbClr val="CC9900"/>
                </a:buClr>
              </a:pPr>
              <a:r>
                <a:rPr lang="en-US" altLang="zh-CN" sz="1400" dirty="0">
                  <a:solidFill>
                    <a:srgbClr val="C00000"/>
                  </a:solidFill>
                  <a:latin typeface="微软雅黑" panose="020B0503020204020204" pitchFamily="34" charset="-122"/>
                  <a:cs typeface="Arial" pitchFamily="34" charset="0"/>
                  <a:sym typeface="微软雅黑" panose="020B0503020204020204" pitchFamily="34" charset="-122"/>
                </a:rPr>
                <a:t>100+</a:t>
              </a:r>
              <a:r>
                <a:rPr lang="en-US" altLang="zh-CN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cs typeface="Arial" pitchFamily="34" charset="0"/>
                  <a:sym typeface="微软雅黑" panose="020B0503020204020204" pitchFamily="34" charset="-122"/>
                </a:rPr>
                <a:t> </a:t>
              </a:r>
            </a:p>
            <a:p>
              <a:pPr algn="ctr" defTabSz="914400">
                <a:buClr>
                  <a:srgbClr val="CC9900"/>
                </a:buClr>
              </a:pPr>
              <a:r>
                <a:rPr lang="zh-CN" altLang="en-US" sz="1000" dirty="0">
                  <a:solidFill>
                    <a:srgbClr val="DDDDDD">
                      <a:lumMod val="10000"/>
                    </a:srgbClr>
                  </a:solidFill>
                  <a:latin typeface="微软雅黑" panose="020B0503020204020204" pitchFamily="34" charset="-122"/>
                  <a:cs typeface="Arial" pitchFamily="34" charset="0"/>
                  <a:sym typeface="微软雅黑" panose="020B0503020204020204" pitchFamily="34" charset="-122"/>
                </a:rPr>
                <a:t>机场</a:t>
              </a:r>
            </a:p>
          </p:txBody>
        </p:sp>
        <p:pic>
          <p:nvPicPr>
            <p:cNvPr id="40" name="图片 39"/>
            <p:cNvPicPr>
              <a:picLocks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268"/>
            <a:stretch/>
          </p:blipFill>
          <p:spPr>
            <a:xfrm>
              <a:off x="3002787" y="4185860"/>
              <a:ext cx="576000" cy="576000"/>
            </a:xfrm>
            <a:prstGeom prst="ellipse">
              <a:avLst/>
            </a:prstGeom>
            <a:effectLst/>
          </p:spPr>
        </p:pic>
        <p:sp>
          <p:nvSpPr>
            <p:cNvPr id="41" name="矩形 334"/>
            <p:cNvSpPr>
              <a:spLocks noChangeArrowheads="1"/>
            </p:cNvSpPr>
            <p:nvPr/>
          </p:nvSpPr>
          <p:spPr bwMode="auto">
            <a:xfrm>
              <a:off x="4280238" y="4091446"/>
              <a:ext cx="901115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914400">
                <a:buClr>
                  <a:srgbClr val="CC9900"/>
                </a:buClr>
              </a:pPr>
              <a:r>
                <a:rPr lang="en-US" altLang="zh-CN" sz="1400" dirty="0">
                  <a:solidFill>
                    <a:srgbClr val="C00000"/>
                  </a:solidFill>
                  <a:latin typeface="微软雅黑" panose="020B0503020204020204" pitchFamily="34" charset="-122"/>
                  <a:cs typeface="Arial" pitchFamily="34" charset="0"/>
                  <a:sym typeface="微软雅黑" panose="020B0503020204020204" pitchFamily="34" charset="-122"/>
                </a:rPr>
                <a:t>2200+</a:t>
              </a:r>
              <a:r>
                <a:rPr lang="en-US" altLang="zh-CN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cs typeface="Arial" pitchFamily="34" charset="0"/>
                  <a:sym typeface="微软雅黑" panose="020B0503020204020204" pitchFamily="34" charset="-122"/>
                </a:rPr>
                <a:t> </a:t>
              </a:r>
            </a:p>
            <a:p>
              <a:pPr algn="ctr" defTabSz="914400">
                <a:buClr>
                  <a:srgbClr val="CC9900"/>
                </a:buClr>
              </a:pPr>
              <a:r>
                <a:rPr lang="en-US" altLang="zh-CN" sz="1000" dirty="0">
                  <a:solidFill>
                    <a:srgbClr val="DDDDDD">
                      <a:lumMod val="10000"/>
                    </a:srgbClr>
                  </a:solidFill>
                  <a:latin typeface="微软雅黑" panose="020B0503020204020204" pitchFamily="34" charset="-122"/>
                  <a:cs typeface="Arial" pitchFamily="34" charset="0"/>
                  <a:sym typeface="微软雅黑" panose="020B0503020204020204" pitchFamily="34" charset="-122"/>
                </a:rPr>
                <a:t>ISP</a:t>
              </a:r>
              <a:endParaRPr lang="zh-CN" altLang="en-US" sz="1000" dirty="0">
                <a:solidFill>
                  <a:srgbClr val="DDDDDD">
                    <a:lumMod val="10000"/>
                  </a:srgbClr>
                </a:solidFill>
                <a:latin typeface="微软雅黑" panose="020B0503020204020204" pitchFamily="34" charset="-122"/>
                <a:cs typeface="Arial" pitchFamily="34" charset="0"/>
                <a:sym typeface="微软雅黑" panose="020B0503020204020204" pitchFamily="34" charset="-122"/>
              </a:endParaRPr>
            </a:p>
          </p:txBody>
        </p:sp>
        <p:pic>
          <p:nvPicPr>
            <p:cNvPr id="16" name="图片 15"/>
            <p:cNvPicPr>
              <a:picLocks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76938" y="3988112"/>
              <a:ext cx="576000" cy="576000"/>
            </a:xfrm>
            <a:prstGeom prst="ellipse">
              <a:avLst/>
            </a:prstGeom>
            <a:ln w="63500" cap="rnd">
              <a:noFill/>
            </a:ln>
            <a:effectLst/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  <p:pic>
          <p:nvPicPr>
            <p:cNvPr id="12" name="Picture 4" descr="C:\Users\z00124665\Desktop\18551776.png"/>
            <p:cNvPicPr>
              <a:picLocks noChangeArrowheads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3955291" y="1762583"/>
              <a:ext cx="821055" cy="826175"/>
            </a:xfrm>
            <a:prstGeom prst="ellipse">
              <a:avLst/>
            </a:prstGeom>
            <a:noFill/>
            <a:ln>
              <a:noFill/>
            </a:ln>
            <a:effectLst/>
          </p:spPr>
        </p:pic>
        <p:pic>
          <p:nvPicPr>
            <p:cNvPr id="11" name="Picture 4" descr="C:\Users\z00124665\Desktop\18551776.png"/>
            <p:cNvPicPr>
              <a:picLocks noChangeArrowheads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3325424" y="1271834"/>
              <a:ext cx="814248" cy="820472"/>
            </a:xfrm>
            <a:prstGeom prst="rect">
              <a:avLst/>
            </a:prstGeom>
            <a:effectLst/>
          </p:spPr>
        </p:pic>
      </p:grpSp>
    </p:spTree>
    <p:extLst>
      <p:ext uri="{BB962C8B-B14F-4D97-AF65-F5344CB8AC3E}">
        <p14:creationId xmlns:p14="http://schemas.microsoft.com/office/powerpoint/2010/main" val="26391593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Freeform 8">
            <a:extLst>
              <a:ext uri="{FF2B5EF4-FFF2-40B4-BE49-F238E27FC236}">
                <a16:creationId xmlns:a16="http://schemas.microsoft.com/office/drawing/2014/main" id="{1DE9BFF7-D0EF-458B-BDC2-780B4783EBDC}"/>
              </a:ext>
            </a:extLst>
          </p:cNvPr>
          <p:cNvSpPr>
            <a:spLocks/>
          </p:cNvSpPr>
          <p:nvPr/>
        </p:nvSpPr>
        <p:spPr bwMode="auto">
          <a:xfrm>
            <a:off x="3474643" y="1164943"/>
            <a:ext cx="5185065" cy="2530430"/>
          </a:xfrm>
          <a:custGeom>
            <a:avLst/>
            <a:gdLst/>
            <a:ahLst/>
            <a:cxnLst>
              <a:cxn ang="0">
                <a:pos x="5492" y="1876"/>
              </a:cxn>
              <a:cxn ang="0">
                <a:pos x="5426" y="1682"/>
              </a:cxn>
              <a:cxn ang="0">
                <a:pos x="5326" y="1506"/>
              </a:cxn>
              <a:cxn ang="0">
                <a:pos x="5198" y="1350"/>
              </a:cxn>
              <a:cxn ang="0">
                <a:pos x="5046" y="1220"/>
              </a:cxn>
              <a:cxn ang="0">
                <a:pos x="4874" y="1116"/>
              </a:cxn>
              <a:cxn ang="0">
                <a:pos x="4682" y="1042"/>
              </a:cxn>
              <a:cxn ang="0">
                <a:pos x="4476" y="1004"/>
              </a:cxn>
              <a:cxn ang="0">
                <a:pos x="4302" y="1002"/>
              </a:cxn>
              <a:cxn ang="0">
                <a:pos x="4184" y="898"/>
              </a:cxn>
              <a:cxn ang="0">
                <a:pos x="4060" y="694"/>
              </a:cxn>
              <a:cxn ang="0">
                <a:pos x="3908" y="512"/>
              </a:cxn>
              <a:cxn ang="0">
                <a:pos x="3732" y="352"/>
              </a:cxn>
              <a:cxn ang="0">
                <a:pos x="3534" y="218"/>
              </a:cxn>
              <a:cxn ang="0">
                <a:pos x="3316" y="114"/>
              </a:cxn>
              <a:cxn ang="0">
                <a:pos x="3084" y="42"/>
              </a:cxn>
              <a:cxn ang="0">
                <a:pos x="2838" y="4"/>
              </a:cxn>
              <a:cxn ang="0">
                <a:pos x="2630" y="2"/>
              </a:cxn>
              <a:cxn ang="0">
                <a:pos x="2318" y="46"/>
              </a:cxn>
              <a:cxn ang="0">
                <a:pos x="2026" y="146"/>
              </a:cxn>
              <a:cxn ang="0">
                <a:pos x="1764" y="296"/>
              </a:cxn>
              <a:cxn ang="0">
                <a:pos x="1532" y="490"/>
              </a:cxn>
              <a:cxn ang="0">
                <a:pos x="1340" y="724"/>
              </a:cxn>
              <a:cxn ang="0">
                <a:pos x="1194" y="988"/>
              </a:cxn>
              <a:cxn ang="0">
                <a:pos x="1096" y="1280"/>
              </a:cxn>
              <a:cxn ang="0">
                <a:pos x="1058" y="1514"/>
              </a:cxn>
              <a:cxn ang="0">
                <a:pos x="908" y="1500"/>
              </a:cxn>
              <a:cxn ang="0">
                <a:pos x="770" y="1510"/>
              </a:cxn>
              <a:cxn ang="0">
                <a:pos x="596" y="1556"/>
              </a:cxn>
              <a:cxn ang="0">
                <a:pos x="436" y="1632"/>
              </a:cxn>
              <a:cxn ang="0">
                <a:pos x="296" y="1736"/>
              </a:cxn>
              <a:cxn ang="0">
                <a:pos x="180" y="1864"/>
              </a:cxn>
              <a:cxn ang="0">
                <a:pos x="90" y="2014"/>
              </a:cxn>
              <a:cxn ang="0">
                <a:pos x="28" y="2182"/>
              </a:cxn>
              <a:cxn ang="0">
                <a:pos x="0" y="2362"/>
              </a:cxn>
              <a:cxn ang="0">
                <a:pos x="4" y="2500"/>
              </a:cxn>
              <a:cxn ang="0">
                <a:pos x="40" y="2678"/>
              </a:cxn>
              <a:cxn ang="0">
                <a:pos x="110" y="2840"/>
              </a:cxn>
              <a:cxn ang="0">
                <a:pos x="206" y="2986"/>
              </a:cxn>
              <a:cxn ang="0">
                <a:pos x="330" y="3108"/>
              </a:cxn>
              <a:cxn ang="0">
                <a:pos x="474" y="3206"/>
              </a:cxn>
              <a:cxn ang="0">
                <a:pos x="638" y="3276"/>
              </a:cxn>
              <a:cxn ang="0">
                <a:pos x="814" y="3312"/>
              </a:cxn>
              <a:cxn ang="0">
                <a:pos x="5486" y="3316"/>
              </a:cxn>
              <a:cxn ang="0">
                <a:pos x="5620" y="3302"/>
              </a:cxn>
              <a:cxn ang="0">
                <a:pos x="5746" y="3264"/>
              </a:cxn>
              <a:cxn ang="0">
                <a:pos x="5860" y="3202"/>
              </a:cxn>
              <a:cxn ang="0">
                <a:pos x="5958" y="3120"/>
              </a:cxn>
              <a:cxn ang="0">
                <a:pos x="6040" y="3022"/>
              </a:cxn>
              <a:cxn ang="0">
                <a:pos x="6102" y="2908"/>
              </a:cxn>
              <a:cxn ang="0">
                <a:pos x="6140" y="2782"/>
              </a:cxn>
              <a:cxn ang="0">
                <a:pos x="6154" y="2646"/>
              </a:cxn>
              <a:cxn ang="0">
                <a:pos x="6146" y="2548"/>
              </a:cxn>
              <a:cxn ang="0">
                <a:pos x="6116" y="2422"/>
              </a:cxn>
              <a:cxn ang="0">
                <a:pos x="6062" y="2308"/>
              </a:cxn>
              <a:cxn ang="0">
                <a:pos x="5988" y="2206"/>
              </a:cxn>
              <a:cxn ang="0">
                <a:pos x="5898" y="2120"/>
              </a:cxn>
              <a:cxn ang="0">
                <a:pos x="5792" y="2054"/>
              </a:cxn>
              <a:cxn ang="0">
                <a:pos x="5674" y="2006"/>
              </a:cxn>
              <a:cxn ang="0">
                <a:pos x="5546" y="1982"/>
              </a:cxn>
            </a:cxnLst>
            <a:rect l="0" t="0" r="r" b="b"/>
            <a:pathLst>
              <a:path w="6154" h="3316">
                <a:moveTo>
                  <a:pt x="5512" y="1980"/>
                </a:moveTo>
                <a:lnTo>
                  <a:pt x="5512" y="1980"/>
                </a:lnTo>
                <a:lnTo>
                  <a:pt x="5504" y="1928"/>
                </a:lnTo>
                <a:lnTo>
                  <a:pt x="5492" y="1876"/>
                </a:lnTo>
                <a:lnTo>
                  <a:pt x="5478" y="1826"/>
                </a:lnTo>
                <a:lnTo>
                  <a:pt x="5462" y="1778"/>
                </a:lnTo>
                <a:lnTo>
                  <a:pt x="5446" y="1730"/>
                </a:lnTo>
                <a:lnTo>
                  <a:pt x="5426" y="1682"/>
                </a:lnTo>
                <a:lnTo>
                  <a:pt x="5404" y="1636"/>
                </a:lnTo>
                <a:lnTo>
                  <a:pt x="5380" y="1592"/>
                </a:lnTo>
                <a:lnTo>
                  <a:pt x="5354" y="1548"/>
                </a:lnTo>
                <a:lnTo>
                  <a:pt x="5326" y="1506"/>
                </a:lnTo>
                <a:lnTo>
                  <a:pt x="5296" y="1466"/>
                </a:lnTo>
                <a:lnTo>
                  <a:pt x="5266" y="1426"/>
                </a:lnTo>
                <a:lnTo>
                  <a:pt x="5234" y="1388"/>
                </a:lnTo>
                <a:lnTo>
                  <a:pt x="5198" y="1350"/>
                </a:lnTo>
                <a:lnTo>
                  <a:pt x="5162" y="1316"/>
                </a:lnTo>
                <a:lnTo>
                  <a:pt x="5126" y="1282"/>
                </a:lnTo>
                <a:lnTo>
                  <a:pt x="5086" y="1250"/>
                </a:lnTo>
                <a:lnTo>
                  <a:pt x="5046" y="1220"/>
                </a:lnTo>
                <a:lnTo>
                  <a:pt x="5006" y="1190"/>
                </a:lnTo>
                <a:lnTo>
                  <a:pt x="4962" y="1164"/>
                </a:lnTo>
                <a:lnTo>
                  <a:pt x="4918" y="1138"/>
                </a:lnTo>
                <a:lnTo>
                  <a:pt x="4874" y="1116"/>
                </a:lnTo>
                <a:lnTo>
                  <a:pt x="4826" y="1094"/>
                </a:lnTo>
                <a:lnTo>
                  <a:pt x="4780" y="1074"/>
                </a:lnTo>
                <a:lnTo>
                  <a:pt x="4732" y="1058"/>
                </a:lnTo>
                <a:lnTo>
                  <a:pt x="4682" y="1042"/>
                </a:lnTo>
                <a:lnTo>
                  <a:pt x="4632" y="1030"/>
                </a:lnTo>
                <a:lnTo>
                  <a:pt x="4580" y="1020"/>
                </a:lnTo>
                <a:lnTo>
                  <a:pt x="4528" y="1010"/>
                </a:lnTo>
                <a:lnTo>
                  <a:pt x="4476" y="1004"/>
                </a:lnTo>
                <a:lnTo>
                  <a:pt x="4422" y="1002"/>
                </a:lnTo>
                <a:lnTo>
                  <a:pt x="4368" y="1000"/>
                </a:lnTo>
                <a:lnTo>
                  <a:pt x="4368" y="1000"/>
                </a:lnTo>
                <a:lnTo>
                  <a:pt x="4302" y="1002"/>
                </a:lnTo>
                <a:lnTo>
                  <a:pt x="4236" y="1008"/>
                </a:lnTo>
                <a:lnTo>
                  <a:pt x="4236" y="1008"/>
                </a:lnTo>
                <a:lnTo>
                  <a:pt x="4212" y="952"/>
                </a:lnTo>
                <a:lnTo>
                  <a:pt x="4184" y="898"/>
                </a:lnTo>
                <a:lnTo>
                  <a:pt x="4156" y="846"/>
                </a:lnTo>
                <a:lnTo>
                  <a:pt x="4126" y="794"/>
                </a:lnTo>
                <a:lnTo>
                  <a:pt x="4094" y="744"/>
                </a:lnTo>
                <a:lnTo>
                  <a:pt x="4060" y="694"/>
                </a:lnTo>
                <a:lnTo>
                  <a:pt x="4024" y="646"/>
                </a:lnTo>
                <a:lnTo>
                  <a:pt x="3988" y="600"/>
                </a:lnTo>
                <a:lnTo>
                  <a:pt x="3948" y="554"/>
                </a:lnTo>
                <a:lnTo>
                  <a:pt x="3908" y="512"/>
                </a:lnTo>
                <a:lnTo>
                  <a:pt x="3866" y="470"/>
                </a:lnTo>
                <a:lnTo>
                  <a:pt x="3822" y="428"/>
                </a:lnTo>
                <a:lnTo>
                  <a:pt x="3778" y="390"/>
                </a:lnTo>
                <a:lnTo>
                  <a:pt x="3732" y="352"/>
                </a:lnTo>
                <a:lnTo>
                  <a:pt x="3684" y="316"/>
                </a:lnTo>
                <a:lnTo>
                  <a:pt x="3636" y="282"/>
                </a:lnTo>
                <a:lnTo>
                  <a:pt x="3586" y="248"/>
                </a:lnTo>
                <a:lnTo>
                  <a:pt x="3534" y="218"/>
                </a:lnTo>
                <a:lnTo>
                  <a:pt x="3482" y="190"/>
                </a:lnTo>
                <a:lnTo>
                  <a:pt x="3428" y="162"/>
                </a:lnTo>
                <a:lnTo>
                  <a:pt x="3372" y="138"/>
                </a:lnTo>
                <a:lnTo>
                  <a:pt x="3316" y="114"/>
                </a:lnTo>
                <a:lnTo>
                  <a:pt x="3260" y="92"/>
                </a:lnTo>
                <a:lnTo>
                  <a:pt x="3202" y="74"/>
                </a:lnTo>
                <a:lnTo>
                  <a:pt x="3144" y="56"/>
                </a:lnTo>
                <a:lnTo>
                  <a:pt x="3084" y="42"/>
                </a:lnTo>
                <a:lnTo>
                  <a:pt x="3024" y="30"/>
                </a:lnTo>
                <a:lnTo>
                  <a:pt x="2962" y="18"/>
                </a:lnTo>
                <a:lnTo>
                  <a:pt x="2900" y="10"/>
                </a:lnTo>
                <a:lnTo>
                  <a:pt x="2838" y="4"/>
                </a:lnTo>
                <a:lnTo>
                  <a:pt x="2774" y="0"/>
                </a:lnTo>
                <a:lnTo>
                  <a:pt x="2710" y="0"/>
                </a:lnTo>
                <a:lnTo>
                  <a:pt x="2710" y="0"/>
                </a:lnTo>
                <a:lnTo>
                  <a:pt x="2630" y="2"/>
                </a:lnTo>
                <a:lnTo>
                  <a:pt x="2550" y="8"/>
                </a:lnTo>
                <a:lnTo>
                  <a:pt x="2472" y="16"/>
                </a:lnTo>
                <a:lnTo>
                  <a:pt x="2394" y="30"/>
                </a:lnTo>
                <a:lnTo>
                  <a:pt x="2318" y="46"/>
                </a:lnTo>
                <a:lnTo>
                  <a:pt x="2242" y="66"/>
                </a:lnTo>
                <a:lnTo>
                  <a:pt x="2168" y="90"/>
                </a:lnTo>
                <a:lnTo>
                  <a:pt x="2096" y="116"/>
                </a:lnTo>
                <a:lnTo>
                  <a:pt x="2026" y="146"/>
                </a:lnTo>
                <a:lnTo>
                  <a:pt x="1958" y="180"/>
                </a:lnTo>
                <a:lnTo>
                  <a:pt x="1892" y="216"/>
                </a:lnTo>
                <a:lnTo>
                  <a:pt x="1826" y="256"/>
                </a:lnTo>
                <a:lnTo>
                  <a:pt x="1764" y="296"/>
                </a:lnTo>
                <a:lnTo>
                  <a:pt x="1702" y="342"/>
                </a:lnTo>
                <a:lnTo>
                  <a:pt x="1644" y="388"/>
                </a:lnTo>
                <a:lnTo>
                  <a:pt x="1586" y="438"/>
                </a:lnTo>
                <a:lnTo>
                  <a:pt x="1532" y="490"/>
                </a:lnTo>
                <a:lnTo>
                  <a:pt x="1480" y="546"/>
                </a:lnTo>
                <a:lnTo>
                  <a:pt x="1432" y="602"/>
                </a:lnTo>
                <a:lnTo>
                  <a:pt x="1386" y="662"/>
                </a:lnTo>
                <a:lnTo>
                  <a:pt x="1340" y="724"/>
                </a:lnTo>
                <a:lnTo>
                  <a:pt x="1300" y="786"/>
                </a:lnTo>
                <a:lnTo>
                  <a:pt x="1262" y="852"/>
                </a:lnTo>
                <a:lnTo>
                  <a:pt x="1226" y="920"/>
                </a:lnTo>
                <a:lnTo>
                  <a:pt x="1194" y="988"/>
                </a:lnTo>
                <a:lnTo>
                  <a:pt x="1164" y="1058"/>
                </a:lnTo>
                <a:lnTo>
                  <a:pt x="1138" y="1132"/>
                </a:lnTo>
                <a:lnTo>
                  <a:pt x="1116" y="1204"/>
                </a:lnTo>
                <a:lnTo>
                  <a:pt x="1096" y="1280"/>
                </a:lnTo>
                <a:lnTo>
                  <a:pt x="1080" y="1356"/>
                </a:lnTo>
                <a:lnTo>
                  <a:pt x="1068" y="1434"/>
                </a:lnTo>
                <a:lnTo>
                  <a:pt x="1058" y="1514"/>
                </a:lnTo>
                <a:lnTo>
                  <a:pt x="1058" y="1514"/>
                </a:lnTo>
                <a:lnTo>
                  <a:pt x="1022" y="1508"/>
                </a:lnTo>
                <a:lnTo>
                  <a:pt x="984" y="1504"/>
                </a:lnTo>
                <a:lnTo>
                  <a:pt x="946" y="1500"/>
                </a:lnTo>
                <a:lnTo>
                  <a:pt x="908" y="1500"/>
                </a:lnTo>
                <a:lnTo>
                  <a:pt x="908" y="1500"/>
                </a:lnTo>
                <a:lnTo>
                  <a:pt x="860" y="1502"/>
                </a:lnTo>
                <a:lnTo>
                  <a:pt x="814" y="1504"/>
                </a:lnTo>
                <a:lnTo>
                  <a:pt x="770" y="1510"/>
                </a:lnTo>
                <a:lnTo>
                  <a:pt x="724" y="1518"/>
                </a:lnTo>
                <a:lnTo>
                  <a:pt x="680" y="1528"/>
                </a:lnTo>
                <a:lnTo>
                  <a:pt x="638" y="1540"/>
                </a:lnTo>
                <a:lnTo>
                  <a:pt x="596" y="1556"/>
                </a:lnTo>
                <a:lnTo>
                  <a:pt x="554" y="1572"/>
                </a:lnTo>
                <a:lnTo>
                  <a:pt x="514" y="1590"/>
                </a:lnTo>
                <a:lnTo>
                  <a:pt x="474" y="1610"/>
                </a:lnTo>
                <a:lnTo>
                  <a:pt x="436" y="1632"/>
                </a:lnTo>
                <a:lnTo>
                  <a:pt x="400" y="1656"/>
                </a:lnTo>
                <a:lnTo>
                  <a:pt x="364" y="1680"/>
                </a:lnTo>
                <a:lnTo>
                  <a:pt x="330" y="1708"/>
                </a:lnTo>
                <a:lnTo>
                  <a:pt x="296" y="1736"/>
                </a:lnTo>
                <a:lnTo>
                  <a:pt x="266" y="1766"/>
                </a:lnTo>
                <a:lnTo>
                  <a:pt x="236" y="1798"/>
                </a:lnTo>
                <a:lnTo>
                  <a:pt x="206" y="1830"/>
                </a:lnTo>
                <a:lnTo>
                  <a:pt x="180" y="1864"/>
                </a:lnTo>
                <a:lnTo>
                  <a:pt x="154" y="1900"/>
                </a:lnTo>
                <a:lnTo>
                  <a:pt x="130" y="1938"/>
                </a:lnTo>
                <a:lnTo>
                  <a:pt x="110" y="1976"/>
                </a:lnTo>
                <a:lnTo>
                  <a:pt x="90" y="2014"/>
                </a:lnTo>
                <a:lnTo>
                  <a:pt x="70" y="2054"/>
                </a:lnTo>
                <a:lnTo>
                  <a:pt x="54" y="2096"/>
                </a:lnTo>
                <a:lnTo>
                  <a:pt x="40" y="2138"/>
                </a:lnTo>
                <a:lnTo>
                  <a:pt x="28" y="2182"/>
                </a:lnTo>
                <a:lnTo>
                  <a:pt x="18" y="2224"/>
                </a:lnTo>
                <a:lnTo>
                  <a:pt x="10" y="2270"/>
                </a:lnTo>
                <a:lnTo>
                  <a:pt x="4" y="2316"/>
                </a:lnTo>
                <a:lnTo>
                  <a:pt x="0" y="2362"/>
                </a:lnTo>
                <a:lnTo>
                  <a:pt x="0" y="2408"/>
                </a:lnTo>
                <a:lnTo>
                  <a:pt x="0" y="2408"/>
                </a:lnTo>
                <a:lnTo>
                  <a:pt x="0" y="2454"/>
                </a:lnTo>
                <a:lnTo>
                  <a:pt x="4" y="2500"/>
                </a:lnTo>
                <a:lnTo>
                  <a:pt x="10" y="2546"/>
                </a:lnTo>
                <a:lnTo>
                  <a:pt x="18" y="2590"/>
                </a:lnTo>
                <a:lnTo>
                  <a:pt x="28" y="2634"/>
                </a:lnTo>
                <a:lnTo>
                  <a:pt x="40" y="2678"/>
                </a:lnTo>
                <a:lnTo>
                  <a:pt x="54" y="2720"/>
                </a:lnTo>
                <a:lnTo>
                  <a:pt x="70" y="2762"/>
                </a:lnTo>
                <a:lnTo>
                  <a:pt x="90" y="2802"/>
                </a:lnTo>
                <a:lnTo>
                  <a:pt x="110" y="2840"/>
                </a:lnTo>
                <a:lnTo>
                  <a:pt x="130" y="2878"/>
                </a:lnTo>
                <a:lnTo>
                  <a:pt x="154" y="2916"/>
                </a:lnTo>
                <a:lnTo>
                  <a:pt x="180" y="2952"/>
                </a:lnTo>
                <a:lnTo>
                  <a:pt x="206" y="2986"/>
                </a:lnTo>
                <a:lnTo>
                  <a:pt x="236" y="3018"/>
                </a:lnTo>
                <a:lnTo>
                  <a:pt x="266" y="3050"/>
                </a:lnTo>
                <a:lnTo>
                  <a:pt x="296" y="3080"/>
                </a:lnTo>
                <a:lnTo>
                  <a:pt x="330" y="3108"/>
                </a:lnTo>
                <a:lnTo>
                  <a:pt x="364" y="3136"/>
                </a:lnTo>
                <a:lnTo>
                  <a:pt x="400" y="3160"/>
                </a:lnTo>
                <a:lnTo>
                  <a:pt x="436" y="3184"/>
                </a:lnTo>
                <a:lnTo>
                  <a:pt x="474" y="3206"/>
                </a:lnTo>
                <a:lnTo>
                  <a:pt x="514" y="3226"/>
                </a:lnTo>
                <a:lnTo>
                  <a:pt x="554" y="3244"/>
                </a:lnTo>
                <a:lnTo>
                  <a:pt x="596" y="3260"/>
                </a:lnTo>
                <a:lnTo>
                  <a:pt x="638" y="3276"/>
                </a:lnTo>
                <a:lnTo>
                  <a:pt x="680" y="3288"/>
                </a:lnTo>
                <a:lnTo>
                  <a:pt x="724" y="3298"/>
                </a:lnTo>
                <a:lnTo>
                  <a:pt x="770" y="3306"/>
                </a:lnTo>
                <a:lnTo>
                  <a:pt x="814" y="3312"/>
                </a:lnTo>
                <a:lnTo>
                  <a:pt x="860" y="3314"/>
                </a:lnTo>
                <a:lnTo>
                  <a:pt x="908" y="3316"/>
                </a:lnTo>
                <a:lnTo>
                  <a:pt x="5486" y="3316"/>
                </a:lnTo>
                <a:lnTo>
                  <a:pt x="5486" y="3316"/>
                </a:lnTo>
                <a:lnTo>
                  <a:pt x="5520" y="3316"/>
                </a:lnTo>
                <a:lnTo>
                  <a:pt x="5554" y="3312"/>
                </a:lnTo>
                <a:lnTo>
                  <a:pt x="5588" y="3308"/>
                </a:lnTo>
                <a:lnTo>
                  <a:pt x="5620" y="3302"/>
                </a:lnTo>
                <a:lnTo>
                  <a:pt x="5652" y="3294"/>
                </a:lnTo>
                <a:lnTo>
                  <a:pt x="5684" y="3286"/>
                </a:lnTo>
                <a:lnTo>
                  <a:pt x="5716" y="3276"/>
                </a:lnTo>
                <a:lnTo>
                  <a:pt x="5746" y="3264"/>
                </a:lnTo>
                <a:lnTo>
                  <a:pt x="5776" y="3250"/>
                </a:lnTo>
                <a:lnTo>
                  <a:pt x="5804" y="3236"/>
                </a:lnTo>
                <a:lnTo>
                  <a:pt x="5832" y="3220"/>
                </a:lnTo>
                <a:lnTo>
                  <a:pt x="5860" y="3202"/>
                </a:lnTo>
                <a:lnTo>
                  <a:pt x="5886" y="3184"/>
                </a:lnTo>
                <a:lnTo>
                  <a:pt x="5910" y="3164"/>
                </a:lnTo>
                <a:lnTo>
                  <a:pt x="5934" y="3142"/>
                </a:lnTo>
                <a:lnTo>
                  <a:pt x="5958" y="3120"/>
                </a:lnTo>
                <a:lnTo>
                  <a:pt x="5980" y="3096"/>
                </a:lnTo>
                <a:lnTo>
                  <a:pt x="6002" y="3072"/>
                </a:lnTo>
                <a:lnTo>
                  <a:pt x="6022" y="3048"/>
                </a:lnTo>
                <a:lnTo>
                  <a:pt x="6040" y="3022"/>
                </a:lnTo>
                <a:lnTo>
                  <a:pt x="6058" y="2994"/>
                </a:lnTo>
                <a:lnTo>
                  <a:pt x="6074" y="2966"/>
                </a:lnTo>
                <a:lnTo>
                  <a:pt x="6088" y="2938"/>
                </a:lnTo>
                <a:lnTo>
                  <a:pt x="6102" y="2908"/>
                </a:lnTo>
                <a:lnTo>
                  <a:pt x="6114" y="2878"/>
                </a:lnTo>
                <a:lnTo>
                  <a:pt x="6124" y="2846"/>
                </a:lnTo>
                <a:lnTo>
                  <a:pt x="6134" y="2814"/>
                </a:lnTo>
                <a:lnTo>
                  <a:pt x="6140" y="2782"/>
                </a:lnTo>
                <a:lnTo>
                  <a:pt x="6146" y="2748"/>
                </a:lnTo>
                <a:lnTo>
                  <a:pt x="6150" y="2716"/>
                </a:lnTo>
                <a:lnTo>
                  <a:pt x="6154" y="2682"/>
                </a:lnTo>
                <a:lnTo>
                  <a:pt x="6154" y="2646"/>
                </a:lnTo>
                <a:lnTo>
                  <a:pt x="6154" y="2646"/>
                </a:lnTo>
                <a:lnTo>
                  <a:pt x="6154" y="2614"/>
                </a:lnTo>
                <a:lnTo>
                  <a:pt x="6150" y="2580"/>
                </a:lnTo>
                <a:lnTo>
                  <a:pt x="6146" y="2548"/>
                </a:lnTo>
                <a:lnTo>
                  <a:pt x="6142" y="2516"/>
                </a:lnTo>
                <a:lnTo>
                  <a:pt x="6134" y="2484"/>
                </a:lnTo>
                <a:lnTo>
                  <a:pt x="6126" y="2452"/>
                </a:lnTo>
                <a:lnTo>
                  <a:pt x="6116" y="2422"/>
                </a:lnTo>
                <a:lnTo>
                  <a:pt x="6104" y="2392"/>
                </a:lnTo>
                <a:lnTo>
                  <a:pt x="6092" y="2364"/>
                </a:lnTo>
                <a:lnTo>
                  <a:pt x="6078" y="2336"/>
                </a:lnTo>
                <a:lnTo>
                  <a:pt x="6062" y="2308"/>
                </a:lnTo>
                <a:lnTo>
                  <a:pt x="6046" y="2282"/>
                </a:lnTo>
                <a:lnTo>
                  <a:pt x="6028" y="2256"/>
                </a:lnTo>
                <a:lnTo>
                  <a:pt x="6008" y="2230"/>
                </a:lnTo>
                <a:lnTo>
                  <a:pt x="5988" y="2206"/>
                </a:lnTo>
                <a:lnTo>
                  <a:pt x="5968" y="2184"/>
                </a:lnTo>
                <a:lnTo>
                  <a:pt x="5946" y="2162"/>
                </a:lnTo>
                <a:lnTo>
                  <a:pt x="5922" y="2140"/>
                </a:lnTo>
                <a:lnTo>
                  <a:pt x="5898" y="2120"/>
                </a:lnTo>
                <a:lnTo>
                  <a:pt x="5872" y="2102"/>
                </a:lnTo>
                <a:lnTo>
                  <a:pt x="5846" y="2084"/>
                </a:lnTo>
                <a:lnTo>
                  <a:pt x="5820" y="2068"/>
                </a:lnTo>
                <a:lnTo>
                  <a:pt x="5792" y="2054"/>
                </a:lnTo>
                <a:lnTo>
                  <a:pt x="5764" y="2040"/>
                </a:lnTo>
                <a:lnTo>
                  <a:pt x="5734" y="2026"/>
                </a:lnTo>
                <a:lnTo>
                  <a:pt x="5704" y="2016"/>
                </a:lnTo>
                <a:lnTo>
                  <a:pt x="5674" y="2006"/>
                </a:lnTo>
                <a:lnTo>
                  <a:pt x="5642" y="1998"/>
                </a:lnTo>
                <a:lnTo>
                  <a:pt x="5612" y="1990"/>
                </a:lnTo>
                <a:lnTo>
                  <a:pt x="5578" y="1986"/>
                </a:lnTo>
                <a:lnTo>
                  <a:pt x="5546" y="1982"/>
                </a:lnTo>
                <a:lnTo>
                  <a:pt x="5512" y="1980"/>
                </a:lnTo>
                <a:lnTo>
                  <a:pt x="5512" y="1980"/>
                </a:lnTo>
                <a:close/>
              </a:path>
            </a:pathLst>
          </a:custGeom>
          <a:gradFill>
            <a:gsLst>
              <a:gs pos="0">
                <a:schemeClr val="tx2">
                  <a:lumMod val="95000"/>
                  <a:alpha val="50000"/>
                </a:schemeClr>
              </a:gs>
              <a:gs pos="100000">
                <a:schemeClr val="tx2">
                  <a:lumMod val="85000"/>
                  <a:alpha val="70000"/>
                </a:schemeClr>
              </a:gs>
            </a:gsLst>
            <a:lin ang="5400000" scaled="0"/>
          </a:gradFill>
          <a:ln w="38100">
            <a:gradFill>
              <a:gsLst>
                <a:gs pos="0">
                  <a:schemeClr val="tx2">
                    <a:lumMod val="85000"/>
                  </a:schemeClr>
                </a:gs>
                <a:gs pos="100000">
                  <a:schemeClr val="tx2">
                    <a:lumMod val="85000"/>
                  </a:schemeClr>
                </a:gs>
              </a:gsLst>
              <a:lin ang="5400000" scaled="0"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800">
              <a:solidFill>
                <a:prstClr val="white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49" name="Picture 10" descr="C:\Users\Administrator\Desktop\云2-02.png">
            <a:extLst>
              <a:ext uri="{FF2B5EF4-FFF2-40B4-BE49-F238E27FC236}">
                <a16:creationId xmlns:a16="http://schemas.microsoft.com/office/drawing/2014/main" id="{22CD0052-B2C2-4A78-9779-134ED78E30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56717" y="1203457"/>
            <a:ext cx="5020916" cy="245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圆角矩形"/>
          <p:cNvSpPr>
            <a:spLocks/>
          </p:cNvSpPr>
          <p:nvPr/>
        </p:nvSpPr>
        <p:spPr>
          <a:xfrm>
            <a:off x="8067871" y="3999216"/>
            <a:ext cx="3387529" cy="1522274"/>
          </a:xfrm>
          <a:prstGeom prst="roundRect">
            <a:avLst>
              <a:gd name="adj" fmla="val 0"/>
            </a:avLst>
          </a:prstGeom>
          <a:gradFill flip="none" rotWithShape="1">
            <a:gsLst>
              <a:gs pos="38000">
                <a:srgbClr val="666666">
                  <a:lumMod val="60000"/>
                  <a:lumOff val="40000"/>
                  <a:alpha val="0"/>
                </a:srgbClr>
              </a:gs>
              <a:gs pos="100000">
                <a:srgbClr val="666666">
                  <a:lumMod val="60000"/>
                  <a:lumOff val="40000"/>
                  <a:alpha val="10000"/>
                </a:srgbClr>
              </a:gs>
            </a:gsLst>
            <a:path path="shape">
              <a:fillToRect l="50000" t="50000" r="50000" b="50000"/>
            </a:path>
            <a:tileRect/>
          </a:gradFill>
          <a:ln w="6350" cap="flat" cmpd="sng" algn="ctr">
            <a:gradFill flip="none" rotWithShape="1">
              <a:gsLst>
                <a:gs pos="0">
                  <a:srgbClr val="666666">
                    <a:lumMod val="60000"/>
                    <a:lumOff val="40000"/>
                    <a:alpha val="80000"/>
                  </a:srgbClr>
                </a:gs>
                <a:gs pos="100000">
                  <a:srgbClr val="666666">
                    <a:lumMod val="60000"/>
                    <a:lumOff val="40000"/>
                    <a:alpha val="40000"/>
                  </a:srgbClr>
                </a:gs>
              </a:gsLst>
              <a:lin ang="0" scaled="0"/>
              <a:tileRect/>
            </a:gra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0" tIns="0" rIns="0" bIns="0" anchor="ctr" anchorCtr="1"/>
          <a:lstStyle/>
          <a:p>
            <a:pPr algn="ctr" defTabSz="914355"/>
            <a:endParaRPr sz="1200" b="1" kern="0" spc="50">
              <a:solidFill>
                <a:sysClr val="windowText" lastClr="000000"/>
              </a:solidFill>
              <a:latin typeface="Arial" pitchFamily="34" charset="0"/>
              <a:ea typeface="微软雅黑" pitchFamily="34" charset="-122"/>
              <a:cs typeface="Arial" pitchFamily="34" charset="0"/>
              <a:sym typeface="Huawei Sans"/>
            </a:endParaRPr>
          </a:p>
        </p:txBody>
      </p:sp>
      <p:sp>
        <p:nvSpPr>
          <p:cNvPr id="30" name="圆角矩形"/>
          <p:cNvSpPr>
            <a:spLocks/>
          </p:cNvSpPr>
          <p:nvPr/>
        </p:nvSpPr>
        <p:spPr>
          <a:xfrm>
            <a:off x="723900" y="3999216"/>
            <a:ext cx="3387529" cy="1522274"/>
          </a:xfrm>
          <a:prstGeom prst="roundRect">
            <a:avLst>
              <a:gd name="adj" fmla="val 0"/>
            </a:avLst>
          </a:prstGeom>
          <a:gradFill flip="none" rotWithShape="1">
            <a:gsLst>
              <a:gs pos="38000">
                <a:srgbClr val="666666">
                  <a:lumMod val="60000"/>
                  <a:lumOff val="40000"/>
                  <a:alpha val="0"/>
                </a:srgbClr>
              </a:gs>
              <a:gs pos="100000">
                <a:srgbClr val="666666">
                  <a:lumMod val="60000"/>
                  <a:lumOff val="40000"/>
                  <a:alpha val="10000"/>
                </a:srgbClr>
              </a:gs>
            </a:gsLst>
            <a:path path="shape">
              <a:fillToRect l="50000" t="50000" r="50000" b="50000"/>
            </a:path>
            <a:tileRect/>
          </a:gradFill>
          <a:ln w="6350" cap="flat" cmpd="sng" algn="ctr">
            <a:gradFill flip="none" rotWithShape="1">
              <a:gsLst>
                <a:gs pos="0">
                  <a:srgbClr val="666666">
                    <a:lumMod val="60000"/>
                    <a:lumOff val="40000"/>
                    <a:alpha val="80000"/>
                  </a:srgbClr>
                </a:gs>
                <a:gs pos="100000">
                  <a:srgbClr val="666666">
                    <a:lumMod val="60000"/>
                    <a:lumOff val="40000"/>
                    <a:alpha val="40000"/>
                  </a:srgbClr>
                </a:gs>
              </a:gsLst>
              <a:lin ang="0" scaled="0"/>
              <a:tileRect/>
            </a:gra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0" tIns="0" rIns="0" bIns="0" anchor="ctr" anchorCtr="1"/>
          <a:lstStyle/>
          <a:p>
            <a:pPr algn="ctr" defTabSz="914355"/>
            <a:endParaRPr sz="1200" b="1" kern="0" spc="50">
              <a:solidFill>
                <a:sysClr val="windowText" lastClr="000000"/>
              </a:solidFill>
              <a:latin typeface="Arial" pitchFamily="34" charset="0"/>
              <a:ea typeface="微软雅黑" pitchFamily="34" charset="-122"/>
              <a:cs typeface="Arial" pitchFamily="34" charset="0"/>
              <a:sym typeface="Huawei Sans"/>
            </a:endParaRPr>
          </a:p>
        </p:txBody>
      </p:sp>
      <p:sp>
        <p:nvSpPr>
          <p:cNvPr id="29" name="圆角矩形"/>
          <p:cNvSpPr>
            <a:spLocks/>
          </p:cNvSpPr>
          <p:nvPr/>
        </p:nvSpPr>
        <p:spPr>
          <a:xfrm>
            <a:off x="4404617" y="3999216"/>
            <a:ext cx="3387529" cy="1522274"/>
          </a:xfrm>
          <a:prstGeom prst="roundRect">
            <a:avLst>
              <a:gd name="adj" fmla="val 0"/>
            </a:avLst>
          </a:prstGeom>
          <a:gradFill flip="none" rotWithShape="1">
            <a:gsLst>
              <a:gs pos="38000">
                <a:srgbClr val="666666">
                  <a:lumMod val="60000"/>
                  <a:lumOff val="40000"/>
                  <a:alpha val="0"/>
                </a:srgbClr>
              </a:gs>
              <a:gs pos="100000">
                <a:srgbClr val="666666">
                  <a:lumMod val="60000"/>
                  <a:lumOff val="40000"/>
                  <a:alpha val="10000"/>
                </a:srgbClr>
              </a:gs>
            </a:gsLst>
            <a:path path="shape">
              <a:fillToRect l="50000" t="50000" r="50000" b="50000"/>
            </a:path>
            <a:tileRect/>
          </a:gradFill>
          <a:ln w="6350" cap="flat" cmpd="sng" algn="ctr">
            <a:gradFill flip="none" rotWithShape="1">
              <a:gsLst>
                <a:gs pos="0">
                  <a:srgbClr val="666666">
                    <a:lumMod val="60000"/>
                    <a:lumOff val="40000"/>
                    <a:alpha val="80000"/>
                  </a:srgbClr>
                </a:gs>
                <a:gs pos="100000">
                  <a:srgbClr val="666666">
                    <a:lumMod val="60000"/>
                    <a:lumOff val="40000"/>
                    <a:alpha val="40000"/>
                  </a:srgbClr>
                </a:gs>
              </a:gsLst>
              <a:lin ang="0" scaled="0"/>
              <a:tileRect/>
            </a:gra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0" tIns="0" rIns="0" bIns="0" anchor="ctr" anchorCtr="1"/>
          <a:lstStyle/>
          <a:p>
            <a:pPr algn="ctr" defTabSz="914355"/>
            <a:endParaRPr sz="1200" b="1" kern="0" spc="50">
              <a:solidFill>
                <a:sysClr val="windowText" lastClr="000000"/>
              </a:solidFill>
              <a:latin typeface="Arial" pitchFamily="34" charset="0"/>
              <a:ea typeface="微软雅黑" pitchFamily="34" charset="-122"/>
              <a:cs typeface="Arial" pitchFamily="34" charset="0"/>
              <a:sym typeface="Huawei Sans"/>
            </a:endParaRPr>
          </a:p>
        </p:txBody>
      </p:sp>
      <p:sp>
        <p:nvSpPr>
          <p:cNvPr id="38" name="13%"/>
          <p:cNvSpPr/>
          <p:nvPr/>
        </p:nvSpPr>
        <p:spPr>
          <a:xfrm>
            <a:off x="9869657" y="6007478"/>
            <a:ext cx="406559" cy="406560"/>
          </a:xfrm>
          <a:prstGeom prst="line">
            <a:avLst/>
          </a:prstGeom>
          <a:noFill/>
          <a:ln w="3175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9779" tIns="9779" rIns="9779" bIns="9779" numCol="1" anchor="ctr">
            <a:spAutoFit/>
          </a:bodyPr>
          <a:lstStyle>
            <a:lvl1pPr algn="ctr">
              <a:defRPr sz="7800" spc="0" baseline="-6410">
                <a:solidFill>
                  <a:schemeClr val="accent4">
                    <a:hueOff val="-606981"/>
                    <a:satOff val="-47232"/>
                    <a:lumOff val="1186"/>
                  </a:schemeClr>
                </a:solidFill>
                <a:latin typeface="Huawei Sans Medium"/>
                <a:ea typeface="Huawei Sans Medium"/>
                <a:cs typeface="Huawei Sans Medium"/>
                <a:sym typeface="Huawei Sans Medium"/>
              </a:defRPr>
            </a:lvl1pPr>
          </a:lstStyle>
          <a:p>
            <a:pPr defTabSz="722696" hangingPunct="0">
              <a:lnSpc>
                <a:spcPct val="130000"/>
              </a:lnSpc>
              <a:defRPr sz="6800" spc="340" baseline="0">
                <a:latin typeface="+mj-lt"/>
                <a:ea typeface="+mj-ea"/>
                <a:cs typeface="+mj-cs"/>
                <a:sym typeface="FZLanTingHeiS-B-GB"/>
              </a:defRPr>
            </a:pPr>
            <a:endParaRPr sz="3200" kern="0" spc="340" baseline="0" dirty="0">
              <a:solidFill>
                <a:srgbClr val="1D1D1A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j-cs"/>
              <a:sym typeface="FZLanTingHeiS-B-GB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9512327" y="5701882"/>
            <a:ext cx="1939634" cy="32316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altLang="zh-CN" sz="1050" dirty="0">
                <a:solidFill>
                  <a:srgbClr val="1D1D1A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Source: </a:t>
            </a:r>
            <a:r>
              <a:rPr lang="zh-CN" altLang="en-US" sz="1050" dirty="0">
                <a:solidFill>
                  <a:srgbClr val="1D1D1A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Gartner</a:t>
            </a:r>
            <a:r>
              <a:rPr lang="en-US" altLang="zh-CN" sz="1050" dirty="0">
                <a:solidFill>
                  <a:srgbClr val="1D1D1A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’s </a:t>
            </a:r>
            <a:r>
              <a:rPr lang="zh-CN" altLang="en-US" sz="1050" dirty="0">
                <a:solidFill>
                  <a:srgbClr val="1D1D1A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Market Share:</a:t>
            </a:r>
          </a:p>
          <a:p>
            <a:pPr algn="ctr"/>
            <a:r>
              <a:rPr lang="zh-CN" altLang="en-US" sz="1050" dirty="0">
                <a:solidFill>
                  <a:srgbClr val="1D1D1A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IT Services, Worldwide 2020</a:t>
            </a:r>
          </a:p>
        </p:txBody>
      </p:sp>
      <p:sp>
        <p:nvSpPr>
          <p:cNvPr id="154" name="全球开发者收入增长"/>
          <p:cNvSpPr/>
          <p:nvPr/>
        </p:nvSpPr>
        <p:spPr>
          <a:xfrm>
            <a:off x="1761191" y="4926815"/>
            <a:ext cx="1312946" cy="2495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3175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1662" tIns="1662" rIns="1662" bIns="1662" numCol="1" anchor="ctr">
            <a:spAutoFit/>
          </a:bodyPr>
          <a:lstStyle>
            <a:lvl1pPr algn="ctr">
              <a:spcBef>
                <a:spcPts val="4100"/>
              </a:spcBef>
              <a:defRPr sz="3800" spc="190">
                <a:latin typeface="FZLanTingHeiS-R-GB"/>
                <a:ea typeface="FZLanTingHeiS-R-GB"/>
                <a:cs typeface="FZLanTingHeiS-R-GB"/>
                <a:sym typeface="FZLanTingHeiS-R-GB"/>
              </a:defRPr>
            </a:lvl1pPr>
          </a:lstStyle>
          <a:p>
            <a:pPr defTabSz="309799">
              <a:spcBef>
                <a:spcPct val="25000"/>
              </a:spcBef>
            </a:pPr>
            <a:r>
              <a:rPr lang="zh-CN" altLang="en-US" sz="1600" spc="102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</a:rPr>
              <a:t>云市场交易额</a:t>
            </a:r>
          </a:p>
        </p:txBody>
      </p:sp>
      <p:sp>
        <p:nvSpPr>
          <p:cNvPr id="163" name="Rectangle 5"/>
          <p:cNvSpPr txBox="1"/>
          <p:nvPr/>
        </p:nvSpPr>
        <p:spPr>
          <a:xfrm>
            <a:off x="5332776" y="4926815"/>
            <a:ext cx="1531211" cy="249578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1662" tIns="1662" rIns="1662" bIns="1662" numCol="1" anchor="ctr">
            <a:spAutoFit/>
          </a:bodyPr>
          <a:lstStyle/>
          <a:p>
            <a:pPr algn="ctr" defTabSz="309799">
              <a:spcBef>
                <a:spcPct val="25000"/>
              </a:spcBef>
              <a:defRPr sz="3800" spc="190">
                <a:latin typeface="FZLanTingHeiS-R-GB"/>
                <a:ea typeface="FZLanTingHeiS-R-GB"/>
                <a:cs typeface="FZLanTingHeiS-R-GB"/>
                <a:sym typeface="FZLanTingHeiS-R-GB"/>
              </a:defRPr>
            </a:pPr>
            <a:r>
              <a:rPr lang="zh-CN" altLang="en-US" sz="1600" spc="102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Huawei Sans"/>
              </a:rPr>
              <a:t>全球开发者数量</a:t>
            </a:r>
            <a:endParaRPr sz="1600" spc="102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/>
              <a:sym typeface="FZLanTingHeiS-R-GB"/>
            </a:endParaRPr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AA8A7C85-97DE-4AEB-BD58-26141AA1C80D}"/>
              </a:ext>
            </a:extLst>
          </p:cNvPr>
          <p:cNvGrpSpPr/>
          <p:nvPr/>
        </p:nvGrpSpPr>
        <p:grpSpPr>
          <a:xfrm>
            <a:off x="4956294" y="2011169"/>
            <a:ext cx="1993748" cy="1438326"/>
            <a:chOff x="4946435" y="2084214"/>
            <a:chExt cx="1993748" cy="1438326"/>
          </a:xfrm>
        </p:grpSpPr>
        <p:sp>
          <p:nvSpPr>
            <p:cNvPr id="151" name="文本框 477"/>
            <p:cNvSpPr txBox="1"/>
            <p:nvPr/>
          </p:nvSpPr>
          <p:spPr>
            <a:xfrm>
              <a:off x="4946435" y="2084214"/>
              <a:ext cx="1110882" cy="649986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 anchorCtr="1">
              <a:spAutoFit/>
            </a:bodyPr>
            <a:lstStyle>
              <a:lvl1pPr>
                <a:defRPr sz="8400" b="1" spc="0">
                  <a:latin typeface="+mn-lt"/>
                  <a:ea typeface="+mn-ea"/>
                  <a:cs typeface="+mn-cs"/>
                  <a:sym typeface="Huawei Sans"/>
                </a:defRPr>
              </a:lvl1pPr>
            </a:lstStyle>
            <a:p>
              <a:pPr algn="ctr" defTabSz="722696" hangingPunct="0">
                <a:lnSpc>
                  <a:spcPct val="130000"/>
                </a:lnSpc>
              </a:pPr>
              <a:r>
                <a:rPr lang="en-US" sz="3600" kern="0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No.2</a:t>
              </a:r>
              <a:endParaRPr sz="3600" kern="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5" name="文本框 477"/>
            <p:cNvSpPr txBox="1"/>
            <p:nvPr/>
          </p:nvSpPr>
          <p:spPr>
            <a:xfrm>
              <a:off x="4946435" y="2872554"/>
              <a:ext cx="1110882" cy="649986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 anchorCtr="1">
              <a:spAutoFit/>
            </a:bodyPr>
            <a:lstStyle>
              <a:lvl1pPr>
                <a:defRPr sz="8400" b="1" spc="0">
                  <a:latin typeface="+mn-lt"/>
                  <a:ea typeface="+mn-ea"/>
                  <a:cs typeface="+mn-cs"/>
                  <a:sym typeface="Huawei Sans"/>
                </a:defRPr>
              </a:lvl1pPr>
            </a:lstStyle>
            <a:p>
              <a:pPr algn="ctr" defTabSz="722696" hangingPunct="0">
                <a:lnSpc>
                  <a:spcPct val="130000"/>
                </a:lnSpc>
              </a:pPr>
              <a:r>
                <a:rPr lang="en-US" sz="3600" kern="0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No.5</a:t>
              </a:r>
              <a:endParaRPr sz="3600" kern="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" name="文本框 2"/>
            <p:cNvSpPr txBox="1"/>
            <p:nvPr/>
          </p:nvSpPr>
          <p:spPr>
            <a:xfrm>
              <a:off x="6581110" y="2193764"/>
              <a:ext cx="359073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algn="ctr"/>
              <a:r>
                <a:rPr kumimoji="1" lang="zh-CN" altLang="en-US" sz="1400" dirty="0">
                  <a:solidFill>
                    <a:schemeClr val="bg2">
                      <a:lumMod val="10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中国</a:t>
              </a:r>
              <a:endParaRPr kumimoji="1" lang="en-US" altLang="zh-CN" sz="1400" dirty="0">
                <a:solidFill>
                  <a:schemeClr val="bg2">
                    <a:lumMod val="1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algn="ctr"/>
              <a:r>
                <a:rPr kumimoji="1" lang="zh-CN" altLang="en-US" sz="1400" dirty="0">
                  <a:solidFill>
                    <a:schemeClr val="bg2">
                      <a:lumMod val="10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市场</a:t>
              </a:r>
            </a:p>
          </p:txBody>
        </p:sp>
        <p:sp>
          <p:nvSpPr>
            <p:cNvPr id="26" name="文本框 25"/>
            <p:cNvSpPr txBox="1"/>
            <p:nvPr/>
          </p:nvSpPr>
          <p:spPr>
            <a:xfrm>
              <a:off x="6581110" y="2982104"/>
              <a:ext cx="359073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kumimoji="1" lang="zh-CN" altLang="en-US" sz="1400" dirty="0">
                  <a:solidFill>
                    <a:schemeClr val="bg2">
                      <a:lumMod val="10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全球</a:t>
              </a:r>
              <a:endParaRPr kumimoji="1" lang="en-US" altLang="zh-CN" sz="1400" dirty="0">
                <a:solidFill>
                  <a:schemeClr val="bg2">
                    <a:lumMod val="1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algn="ctr"/>
              <a:r>
                <a:rPr kumimoji="1" lang="zh-CN" altLang="en-US" sz="1400" dirty="0">
                  <a:solidFill>
                    <a:schemeClr val="bg2">
                      <a:lumMod val="10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市场</a:t>
              </a:r>
            </a:p>
          </p:txBody>
        </p:sp>
      </p:grpSp>
      <p:sp>
        <p:nvSpPr>
          <p:cNvPr id="27" name="副标题 1">
            <a:extLst>
              <a:ext uri="{FF2B5EF4-FFF2-40B4-BE49-F238E27FC236}">
                <a16:creationId xmlns:a16="http://schemas.microsoft.com/office/drawing/2014/main" id="{9F6FCC67-8B4D-45F1-BDA0-63A526F08A95}"/>
              </a:ext>
            </a:extLst>
          </p:cNvPr>
          <p:cNvSpPr txBox="1">
            <a:spLocks/>
          </p:cNvSpPr>
          <p:nvPr/>
        </p:nvSpPr>
        <p:spPr>
          <a:xfrm>
            <a:off x="723900" y="447675"/>
            <a:ext cx="107315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96950" indent="-296950" algn="l" defTabSz="1187798" rtl="0" eaLnBrk="1" latinLnBrk="0" hangingPunct="1">
              <a:lnSpc>
                <a:spcPct val="90000"/>
              </a:lnSpc>
              <a:spcBef>
                <a:spcPts val="1299"/>
              </a:spcBef>
              <a:buFont typeface="Arial" panose="020B0604020202020204" pitchFamily="34" charset="0"/>
              <a:buChar char="•"/>
              <a:defRPr sz="36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90849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84748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5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78648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72547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6447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60346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54245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48144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华为云：联接和服务全球客户，是增速最快的云服务提供商</a:t>
            </a:r>
          </a:p>
        </p:txBody>
      </p:sp>
      <p:sp>
        <p:nvSpPr>
          <p:cNvPr id="31" name="全球开发者收入增长">
            <a:extLst>
              <a:ext uri="{FF2B5EF4-FFF2-40B4-BE49-F238E27FC236}">
                <a16:creationId xmlns:a16="http://schemas.microsoft.com/office/drawing/2014/main" id="{82416144-ECA2-41CF-8AAD-1155188B0E27}"/>
              </a:ext>
            </a:extLst>
          </p:cNvPr>
          <p:cNvSpPr/>
          <p:nvPr/>
        </p:nvSpPr>
        <p:spPr>
          <a:xfrm>
            <a:off x="8559500" y="4926815"/>
            <a:ext cx="2404270" cy="2495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noFill/>
          <a:ln w="3175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1662" tIns="1662" rIns="1662" bIns="1662" numCol="1" anchor="ctr">
            <a:spAutoFit/>
          </a:bodyPr>
          <a:lstStyle>
            <a:lvl1pPr algn="ctr">
              <a:spcBef>
                <a:spcPts val="4100"/>
              </a:spcBef>
              <a:defRPr sz="3800" spc="190">
                <a:latin typeface="FZLanTingHeiS-R-GB"/>
                <a:ea typeface="FZLanTingHeiS-R-GB"/>
                <a:cs typeface="FZLanTingHeiS-R-GB"/>
                <a:sym typeface="FZLanTingHeiS-R-GB"/>
              </a:defRPr>
            </a:lvl1pPr>
          </a:lstStyle>
          <a:p>
            <a:pPr algn="ctr" defTabSz="309799">
              <a:spcBef>
                <a:spcPct val="25000"/>
              </a:spcBef>
              <a:defRPr sz="3800" spc="190">
                <a:latin typeface="FZLanTingHeiS-R-GB"/>
                <a:ea typeface="FZLanTingHeiS-R-GB"/>
                <a:cs typeface="FZLanTingHeiS-R-GB"/>
                <a:sym typeface="FZLanTingHeiS-R-GB"/>
              </a:defRPr>
            </a:pPr>
            <a:r>
              <a:rPr lang="zh-CN" altLang="en-US" sz="1600" spc="102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/>
                <a:sym typeface="FZLanTingHeiS-R-GB"/>
              </a:rPr>
              <a:t>伙伴应用与认证解决方案</a:t>
            </a:r>
          </a:p>
        </p:txBody>
      </p:sp>
      <p:grpSp>
        <p:nvGrpSpPr>
          <p:cNvPr id="8" name="组合 7">
            <a:extLst>
              <a:ext uri="{FF2B5EF4-FFF2-40B4-BE49-F238E27FC236}">
                <a16:creationId xmlns:a16="http://schemas.microsoft.com/office/drawing/2014/main" id="{13B5D880-8708-41D3-9310-1F206154FF9F}"/>
              </a:ext>
            </a:extLst>
          </p:cNvPr>
          <p:cNvGrpSpPr/>
          <p:nvPr/>
        </p:nvGrpSpPr>
        <p:grpSpPr>
          <a:xfrm>
            <a:off x="1698312" y="4278315"/>
            <a:ext cx="1438705" cy="453457"/>
            <a:chOff x="1743406" y="4080665"/>
            <a:chExt cx="1438705" cy="453457"/>
          </a:xfrm>
        </p:grpSpPr>
        <p:sp>
          <p:nvSpPr>
            <p:cNvPr id="32" name="矩形 31">
              <a:extLst>
                <a:ext uri="{FF2B5EF4-FFF2-40B4-BE49-F238E27FC236}">
                  <a16:creationId xmlns:a16="http://schemas.microsoft.com/office/drawing/2014/main" id="{84A3CE25-492C-4941-89E8-29C5CA1E98AE}"/>
                </a:ext>
              </a:extLst>
            </p:cNvPr>
            <p:cNvSpPr/>
            <p:nvPr/>
          </p:nvSpPr>
          <p:spPr>
            <a:xfrm>
              <a:off x="1743406" y="4080665"/>
              <a:ext cx="899605" cy="45345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722696" hangingPunct="0">
                <a:lnSpc>
                  <a:spcPct val="130000"/>
                </a:lnSpc>
              </a:pPr>
              <a:r>
                <a:rPr lang="en-US" altLang="zh-CN" sz="2000" b="1" kern="0" dirty="0">
                  <a:solidFill>
                    <a:schemeClr val="bg2">
                      <a:lumMod val="1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12%</a:t>
              </a:r>
            </a:p>
          </p:txBody>
        </p: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98197CE8-376F-42B4-9509-3220A5F2D1CB}"/>
                </a:ext>
              </a:extLst>
            </p:cNvPr>
            <p:cNvGrpSpPr/>
            <p:nvPr/>
          </p:nvGrpSpPr>
          <p:grpSpPr>
            <a:xfrm>
              <a:off x="2687754" y="4182432"/>
              <a:ext cx="494357" cy="249923"/>
              <a:chOff x="3260300" y="5174624"/>
              <a:chExt cx="2225555" cy="1053586"/>
            </a:xfrm>
          </p:grpSpPr>
          <p:sp>
            <p:nvSpPr>
              <p:cNvPr id="34" name="梯形 33">
                <a:extLst>
                  <a:ext uri="{FF2B5EF4-FFF2-40B4-BE49-F238E27FC236}">
                    <a16:creationId xmlns:a16="http://schemas.microsoft.com/office/drawing/2014/main" id="{06CD0689-CA6D-41E7-B566-DA18D12D1187}"/>
                  </a:ext>
                </a:extLst>
              </p:cNvPr>
              <p:cNvSpPr/>
              <p:nvPr/>
            </p:nvSpPr>
            <p:spPr>
              <a:xfrm rot="10800000" flipV="1">
                <a:off x="3260300" y="5174624"/>
                <a:ext cx="2225555" cy="749397"/>
              </a:xfrm>
              <a:prstGeom prst="trapezoid">
                <a:avLst>
                  <a:gd name="adj" fmla="val 148455"/>
                </a:avLst>
              </a:prstGeom>
              <a:gradFill flip="none" rotWithShape="1">
                <a:gsLst>
                  <a:gs pos="0">
                    <a:srgbClr val="C7000B">
                      <a:alpha val="20000"/>
                    </a:srgbClr>
                  </a:gs>
                  <a:gs pos="100000">
                    <a:srgbClr val="C7000B">
                      <a:alpha val="0"/>
                    </a:srgbClr>
                  </a:gs>
                </a:gsLst>
                <a:lin ang="5400000" scaled="1"/>
                <a:tileRect/>
              </a:gradFill>
              <a:ln w="12700">
                <a:gradFill flip="none" rotWithShape="1">
                  <a:gsLst>
                    <a:gs pos="0">
                      <a:srgbClr val="C7000B">
                        <a:alpha val="0"/>
                      </a:srgbClr>
                    </a:gs>
                    <a:gs pos="100000">
                      <a:srgbClr val="C7000B">
                        <a:alpha val="31000"/>
                      </a:srgbClr>
                    </a:gs>
                  </a:gsLst>
                  <a:lin ang="16200000" scaled="1"/>
                  <a:tileRect/>
                </a:gradFill>
                <a:miter lim="800000"/>
              </a:ln>
            </p:spPr>
            <p:txBody>
              <a:bodyPr lIns="121926" tIns="60963" rIns="121926" bIns="60963"/>
              <a:lstStyle/>
              <a:p>
                <a:endParaRPr lang="zh-CN" altLang="en-US" sz="3200">
                  <a:solidFill>
                    <a:schemeClr val="bg2">
                      <a:lumMod val="1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6" name="梯形 35">
                <a:extLst>
                  <a:ext uri="{FF2B5EF4-FFF2-40B4-BE49-F238E27FC236}">
                    <a16:creationId xmlns:a16="http://schemas.microsoft.com/office/drawing/2014/main" id="{CF2A302F-47B2-42D9-9BDC-FA69D8EEFBC4}"/>
                  </a:ext>
                </a:extLst>
              </p:cNvPr>
              <p:cNvSpPr/>
              <p:nvPr/>
            </p:nvSpPr>
            <p:spPr>
              <a:xfrm rot="10800000" flipV="1">
                <a:off x="3260300" y="5478813"/>
                <a:ext cx="2225555" cy="749397"/>
              </a:xfrm>
              <a:prstGeom prst="trapezoid">
                <a:avLst>
                  <a:gd name="adj" fmla="val 148455"/>
                </a:avLst>
              </a:prstGeom>
              <a:gradFill flip="none" rotWithShape="1">
                <a:gsLst>
                  <a:gs pos="0">
                    <a:srgbClr val="C7000B">
                      <a:alpha val="20000"/>
                    </a:srgbClr>
                  </a:gs>
                  <a:gs pos="100000">
                    <a:srgbClr val="C7000B">
                      <a:alpha val="0"/>
                    </a:srgbClr>
                  </a:gs>
                </a:gsLst>
                <a:lin ang="5400000" scaled="1"/>
                <a:tileRect/>
              </a:gradFill>
              <a:ln w="12700">
                <a:gradFill flip="none" rotWithShape="1">
                  <a:gsLst>
                    <a:gs pos="0">
                      <a:srgbClr val="C7000B">
                        <a:alpha val="0"/>
                      </a:srgbClr>
                    </a:gs>
                    <a:gs pos="100000">
                      <a:srgbClr val="C7000B">
                        <a:alpha val="31000"/>
                      </a:srgbClr>
                    </a:gs>
                  </a:gsLst>
                  <a:lin ang="16200000" scaled="1"/>
                  <a:tileRect/>
                </a:gradFill>
                <a:miter lim="800000"/>
              </a:ln>
            </p:spPr>
            <p:txBody>
              <a:bodyPr lIns="121926" tIns="60963" rIns="121926" bIns="60963"/>
              <a:lstStyle/>
              <a:p>
                <a:endParaRPr lang="zh-CN" altLang="en-US" sz="3200">
                  <a:solidFill>
                    <a:schemeClr val="bg2">
                      <a:lumMod val="1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9" name="组合 8">
            <a:extLst>
              <a:ext uri="{FF2B5EF4-FFF2-40B4-BE49-F238E27FC236}">
                <a16:creationId xmlns:a16="http://schemas.microsoft.com/office/drawing/2014/main" id="{7B3DE7FF-559E-4610-9B96-24CB8A4456FB}"/>
              </a:ext>
            </a:extLst>
          </p:cNvPr>
          <p:cNvGrpSpPr/>
          <p:nvPr/>
        </p:nvGrpSpPr>
        <p:grpSpPr>
          <a:xfrm>
            <a:off x="4990849" y="4278314"/>
            <a:ext cx="2215064" cy="453457"/>
            <a:chOff x="5163357" y="4080664"/>
            <a:chExt cx="2215064" cy="453457"/>
          </a:xfrm>
        </p:grpSpPr>
        <p:sp>
          <p:nvSpPr>
            <p:cNvPr id="164" name="3322 亿"/>
            <p:cNvSpPr txBox="1"/>
            <p:nvPr/>
          </p:nvSpPr>
          <p:spPr>
            <a:xfrm>
              <a:off x="5163357" y="4104933"/>
              <a:ext cx="882293" cy="404919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9779" tIns="9779" rIns="9779" bIns="9779" numCol="1" anchor="ctr" anchorCtr="0">
              <a:spAutoFit/>
            </a:bodyPr>
            <a:lstStyle/>
            <a:p>
              <a:pPr algn="ctr" defTabSz="722696" hangingPunct="0">
                <a:lnSpc>
                  <a:spcPct val="130000"/>
                </a:lnSpc>
                <a:defRPr sz="6800" spc="340">
                  <a:solidFill>
                    <a:srgbClr val="FFD932">
                      <a:hueOff val="-606981"/>
                      <a:satOff val="-47232"/>
                      <a:lumOff val="1186"/>
                    </a:srgbClr>
                  </a:solidFill>
                </a:defRPr>
              </a:pPr>
              <a:r>
                <a:rPr lang="en-US" sz="3200" b="1" kern="0" spc="340" baseline="-6410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Huawei Sans Medium"/>
                  <a:sym typeface="Huawei Sans Medium"/>
                </a:rPr>
                <a:t>260</a:t>
              </a:r>
              <a:r>
                <a:rPr lang="zh-CN" altLang="en-US" sz="2000" b="1" kern="0" spc="109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FZLanTingHeiS-B-GB"/>
                </a:rPr>
                <a:t>万</a:t>
              </a:r>
              <a:endParaRPr sz="2800" b="1" kern="0" spc="109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FZLanTingHeiS-B-GB"/>
              </a:endParaRPr>
            </a:p>
          </p:txBody>
        </p:sp>
        <p:sp>
          <p:nvSpPr>
            <p:cNvPr id="4" name="矩形 3"/>
            <p:cNvSpPr/>
            <p:nvPr/>
          </p:nvSpPr>
          <p:spPr>
            <a:xfrm>
              <a:off x="6125676" y="4080664"/>
              <a:ext cx="740908" cy="453457"/>
            </a:xfrm>
            <a:prstGeom prst="rect">
              <a:avLst/>
            </a:prstGeom>
          </p:spPr>
          <p:txBody>
            <a:bodyPr wrap="none" anchor="ctr" anchorCtr="0">
              <a:spAutoFit/>
            </a:bodyPr>
            <a:lstStyle/>
            <a:p>
              <a:pPr defTabSz="722696" hangingPunct="0">
                <a:lnSpc>
                  <a:spcPct val="130000"/>
                </a:lnSpc>
              </a:pPr>
              <a:r>
                <a:rPr lang="en-US" altLang="zh-CN" sz="2000" b="1" kern="0" dirty="0">
                  <a:solidFill>
                    <a:schemeClr val="bg2">
                      <a:lumMod val="1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63%</a:t>
              </a:r>
            </a:p>
          </p:txBody>
        </p:sp>
        <p:grpSp>
          <p:nvGrpSpPr>
            <p:cNvPr id="37" name="组合 36">
              <a:extLst>
                <a:ext uri="{FF2B5EF4-FFF2-40B4-BE49-F238E27FC236}">
                  <a16:creationId xmlns:a16="http://schemas.microsoft.com/office/drawing/2014/main" id="{80AD696C-E12B-4934-8DA0-5712B9470412}"/>
                </a:ext>
              </a:extLst>
            </p:cNvPr>
            <p:cNvGrpSpPr/>
            <p:nvPr/>
          </p:nvGrpSpPr>
          <p:grpSpPr>
            <a:xfrm>
              <a:off x="6884064" y="4182431"/>
              <a:ext cx="494357" cy="249923"/>
              <a:chOff x="3260300" y="5174624"/>
              <a:chExt cx="2225555" cy="1053586"/>
            </a:xfrm>
          </p:grpSpPr>
          <p:sp>
            <p:nvSpPr>
              <p:cNvPr id="41" name="梯形 40">
                <a:extLst>
                  <a:ext uri="{FF2B5EF4-FFF2-40B4-BE49-F238E27FC236}">
                    <a16:creationId xmlns:a16="http://schemas.microsoft.com/office/drawing/2014/main" id="{5B69DA5C-0DF6-4D78-BE08-022FDCDAE39D}"/>
                  </a:ext>
                </a:extLst>
              </p:cNvPr>
              <p:cNvSpPr/>
              <p:nvPr/>
            </p:nvSpPr>
            <p:spPr>
              <a:xfrm rot="10800000" flipV="1">
                <a:off x="3260300" y="5174624"/>
                <a:ext cx="2225555" cy="749397"/>
              </a:xfrm>
              <a:prstGeom prst="trapezoid">
                <a:avLst>
                  <a:gd name="adj" fmla="val 148455"/>
                </a:avLst>
              </a:prstGeom>
              <a:gradFill flip="none" rotWithShape="1">
                <a:gsLst>
                  <a:gs pos="0">
                    <a:srgbClr val="C7000B">
                      <a:alpha val="20000"/>
                    </a:srgbClr>
                  </a:gs>
                  <a:gs pos="100000">
                    <a:srgbClr val="C7000B">
                      <a:alpha val="0"/>
                    </a:srgbClr>
                  </a:gs>
                </a:gsLst>
                <a:lin ang="5400000" scaled="1"/>
                <a:tileRect/>
              </a:gradFill>
              <a:ln w="12700">
                <a:gradFill flip="none" rotWithShape="1">
                  <a:gsLst>
                    <a:gs pos="0">
                      <a:srgbClr val="C7000B">
                        <a:alpha val="0"/>
                      </a:srgbClr>
                    </a:gs>
                    <a:gs pos="100000">
                      <a:srgbClr val="C7000B">
                        <a:alpha val="31000"/>
                      </a:srgbClr>
                    </a:gs>
                  </a:gsLst>
                  <a:lin ang="16200000" scaled="1"/>
                  <a:tileRect/>
                </a:gradFill>
                <a:miter lim="800000"/>
              </a:ln>
            </p:spPr>
            <p:txBody>
              <a:bodyPr lIns="121926" tIns="60963" rIns="121926" bIns="60963"/>
              <a:lstStyle/>
              <a:p>
                <a:endParaRPr lang="zh-CN" altLang="en-US" sz="3200">
                  <a:solidFill>
                    <a:schemeClr val="bg2">
                      <a:lumMod val="1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2" name="梯形 41">
                <a:extLst>
                  <a:ext uri="{FF2B5EF4-FFF2-40B4-BE49-F238E27FC236}">
                    <a16:creationId xmlns:a16="http://schemas.microsoft.com/office/drawing/2014/main" id="{F530F6FA-8283-403D-B097-4C0BDD145CD1}"/>
                  </a:ext>
                </a:extLst>
              </p:cNvPr>
              <p:cNvSpPr/>
              <p:nvPr/>
            </p:nvSpPr>
            <p:spPr>
              <a:xfrm rot="10800000" flipV="1">
                <a:off x="3260300" y="5478813"/>
                <a:ext cx="2225555" cy="749397"/>
              </a:xfrm>
              <a:prstGeom prst="trapezoid">
                <a:avLst>
                  <a:gd name="adj" fmla="val 148455"/>
                </a:avLst>
              </a:prstGeom>
              <a:gradFill flip="none" rotWithShape="1">
                <a:gsLst>
                  <a:gs pos="0">
                    <a:srgbClr val="C7000B">
                      <a:alpha val="20000"/>
                    </a:srgbClr>
                  </a:gs>
                  <a:gs pos="100000">
                    <a:srgbClr val="C7000B">
                      <a:alpha val="0"/>
                    </a:srgbClr>
                  </a:gs>
                </a:gsLst>
                <a:lin ang="5400000" scaled="1"/>
                <a:tileRect/>
              </a:gradFill>
              <a:ln w="12700">
                <a:gradFill flip="none" rotWithShape="1">
                  <a:gsLst>
                    <a:gs pos="0">
                      <a:srgbClr val="C7000B">
                        <a:alpha val="0"/>
                      </a:srgbClr>
                    </a:gs>
                    <a:gs pos="100000">
                      <a:srgbClr val="C7000B">
                        <a:alpha val="31000"/>
                      </a:srgbClr>
                    </a:gs>
                  </a:gsLst>
                  <a:lin ang="16200000" scaled="1"/>
                  <a:tileRect/>
                </a:gradFill>
                <a:miter lim="800000"/>
              </a:ln>
            </p:spPr>
            <p:txBody>
              <a:bodyPr lIns="121926" tIns="60963" rIns="121926" bIns="60963"/>
              <a:lstStyle/>
              <a:p>
                <a:endParaRPr lang="zh-CN" altLang="en-US" sz="3200">
                  <a:solidFill>
                    <a:schemeClr val="bg2">
                      <a:lumMod val="1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10" name="组合 9">
            <a:extLst>
              <a:ext uri="{FF2B5EF4-FFF2-40B4-BE49-F238E27FC236}">
                <a16:creationId xmlns:a16="http://schemas.microsoft.com/office/drawing/2014/main" id="{CB0F8EFC-56DC-4C7E-8E59-47D446D9945E}"/>
              </a:ext>
            </a:extLst>
          </p:cNvPr>
          <p:cNvGrpSpPr/>
          <p:nvPr/>
        </p:nvGrpSpPr>
        <p:grpSpPr>
          <a:xfrm>
            <a:off x="8666510" y="4278314"/>
            <a:ext cx="2190251" cy="453457"/>
            <a:chOff x="8926382" y="4080664"/>
            <a:chExt cx="2190251" cy="453457"/>
          </a:xfrm>
        </p:grpSpPr>
        <p:sp>
          <p:nvSpPr>
            <p:cNvPr id="165" name="矩形 46"/>
            <p:cNvSpPr/>
            <p:nvPr/>
          </p:nvSpPr>
          <p:spPr>
            <a:xfrm>
              <a:off x="8926382" y="4114140"/>
              <a:ext cx="901583" cy="3865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extrusionOk="0">
                  <a:moveTo>
                    <a:pt x="0" y="0"/>
                  </a:moveTo>
                  <a:lnTo>
                    <a:pt x="21600" y="0"/>
                  </a:lnTo>
                  <a:lnTo>
                    <a:pt x="2160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numCol="1" anchor="ctr" anchorCtr="0">
              <a:spAutoFit/>
            </a:bodyPr>
            <a:lstStyle/>
            <a:p>
              <a:pPr algn="ctr" defTabSz="722696" hangingPunct="0">
                <a:lnSpc>
                  <a:spcPct val="130000"/>
                </a:lnSpc>
                <a:defRPr sz="6800" spc="340">
                  <a:solidFill>
                    <a:srgbClr val="FFD932">
                      <a:hueOff val="-606981"/>
                      <a:satOff val="-47232"/>
                      <a:lumOff val="1186"/>
                    </a:srgbClr>
                  </a:solidFill>
                </a:defRPr>
              </a:pPr>
              <a:r>
                <a:rPr lang="en-US" sz="3200" b="1" kern="0" spc="340" baseline="-6410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Huawei Sans Medium"/>
                  <a:sym typeface="Huawei Sans Medium"/>
                </a:rPr>
                <a:t>6100</a:t>
              </a:r>
              <a:r>
                <a:rPr sz="3200" b="1" kern="0" spc="340" baseline="-6410" dirty="0">
                  <a:solidFill>
                    <a:schemeClr val="bg2">
                      <a:lumMod val="1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Huawei Sans Medium"/>
                  <a:sym typeface="Huawei Sans Medium"/>
                </a:rPr>
                <a:t> </a:t>
              </a:r>
              <a:endParaRPr sz="3200" b="1" kern="0" spc="340" baseline="-641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Huawei Sans Medium"/>
                <a:sym typeface="FZLanTingHeiS-B-GB"/>
              </a:endParaRPr>
            </a:p>
          </p:txBody>
        </p:sp>
        <p:sp>
          <p:nvSpPr>
            <p:cNvPr id="40" name="矩形 39"/>
            <p:cNvSpPr/>
            <p:nvPr/>
          </p:nvSpPr>
          <p:spPr>
            <a:xfrm>
              <a:off x="9881368" y="4080664"/>
              <a:ext cx="740908" cy="453457"/>
            </a:xfrm>
            <a:prstGeom prst="rect">
              <a:avLst/>
            </a:prstGeom>
          </p:spPr>
          <p:txBody>
            <a:bodyPr wrap="none" anchor="ctr" anchorCtr="0">
              <a:spAutoFit/>
            </a:bodyPr>
            <a:lstStyle/>
            <a:p>
              <a:pPr defTabSz="722696" hangingPunct="0">
                <a:lnSpc>
                  <a:spcPct val="130000"/>
                </a:lnSpc>
              </a:pPr>
              <a:r>
                <a:rPr lang="en-US" altLang="zh-CN" sz="2000" b="1" kern="0" dirty="0">
                  <a:solidFill>
                    <a:schemeClr val="bg2">
                      <a:lumMod val="1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67%</a:t>
              </a:r>
            </a:p>
          </p:txBody>
        </p:sp>
        <p:grpSp>
          <p:nvGrpSpPr>
            <p:cNvPr id="43" name="组合 42">
              <a:extLst>
                <a:ext uri="{FF2B5EF4-FFF2-40B4-BE49-F238E27FC236}">
                  <a16:creationId xmlns:a16="http://schemas.microsoft.com/office/drawing/2014/main" id="{7BCE29DA-C808-43DC-B661-D0D7BF0CBFE1}"/>
                </a:ext>
              </a:extLst>
            </p:cNvPr>
            <p:cNvGrpSpPr/>
            <p:nvPr/>
          </p:nvGrpSpPr>
          <p:grpSpPr>
            <a:xfrm>
              <a:off x="10622276" y="4182432"/>
              <a:ext cx="494357" cy="249923"/>
              <a:chOff x="3260300" y="5174624"/>
              <a:chExt cx="2225555" cy="1053586"/>
            </a:xfrm>
          </p:grpSpPr>
          <p:sp>
            <p:nvSpPr>
              <p:cNvPr id="44" name="梯形 43">
                <a:extLst>
                  <a:ext uri="{FF2B5EF4-FFF2-40B4-BE49-F238E27FC236}">
                    <a16:creationId xmlns:a16="http://schemas.microsoft.com/office/drawing/2014/main" id="{F5679275-FEE6-41E7-94C9-B3612352F7D3}"/>
                  </a:ext>
                </a:extLst>
              </p:cNvPr>
              <p:cNvSpPr/>
              <p:nvPr/>
            </p:nvSpPr>
            <p:spPr>
              <a:xfrm rot="10800000" flipV="1">
                <a:off x="3260300" y="5174624"/>
                <a:ext cx="2225555" cy="749397"/>
              </a:xfrm>
              <a:prstGeom prst="trapezoid">
                <a:avLst>
                  <a:gd name="adj" fmla="val 148455"/>
                </a:avLst>
              </a:prstGeom>
              <a:gradFill flip="none" rotWithShape="1">
                <a:gsLst>
                  <a:gs pos="0">
                    <a:srgbClr val="C7000B">
                      <a:alpha val="20000"/>
                    </a:srgbClr>
                  </a:gs>
                  <a:gs pos="100000">
                    <a:srgbClr val="C7000B">
                      <a:alpha val="0"/>
                    </a:srgbClr>
                  </a:gs>
                </a:gsLst>
                <a:lin ang="5400000" scaled="1"/>
                <a:tileRect/>
              </a:gradFill>
              <a:ln w="12700">
                <a:gradFill flip="none" rotWithShape="1">
                  <a:gsLst>
                    <a:gs pos="0">
                      <a:srgbClr val="C7000B">
                        <a:alpha val="0"/>
                      </a:srgbClr>
                    </a:gs>
                    <a:gs pos="100000">
                      <a:srgbClr val="C7000B">
                        <a:alpha val="31000"/>
                      </a:srgbClr>
                    </a:gs>
                  </a:gsLst>
                  <a:lin ang="16200000" scaled="1"/>
                  <a:tileRect/>
                </a:gradFill>
                <a:miter lim="800000"/>
              </a:ln>
            </p:spPr>
            <p:txBody>
              <a:bodyPr lIns="121926" tIns="60963" rIns="121926" bIns="60963"/>
              <a:lstStyle/>
              <a:p>
                <a:endParaRPr lang="zh-CN" altLang="en-US" sz="3200">
                  <a:solidFill>
                    <a:schemeClr val="bg2">
                      <a:lumMod val="1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5" name="梯形 44">
                <a:extLst>
                  <a:ext uri="{FF2B5EF4-FFF2-40B4-BE49-F238E27FC236}">
                    <a16:creationId xmlns:a16="http://schemas.microsoft.com/office/drawing/2014/main" id="{0ADC01C4-286E-4729-BCD6-39F0C247FF9E}"/>
                  </a:ext>
                </a:extLst>
              </p:cNvPr>
              <p:cNvSpPr/>
              <p:nvPr/>
            </p:nvSpPr>
            <p:spPr>
              <a:xfrm rot="10800000" flipV="1">
                <a:off x="3260300" y="5478813"/>
                <a:ext cx="2225555" cy="749397"/>
              </a:xfrm>
              <a:prstGeom prst="trapezoid">
                <a:avLst>
                  <a:gd name="adj" fmla="val 148455"/>
                </a:avLst>
              </a:prstGeom>
              <a:gradFill flip="none" rotWithShape="1">
                <a:gsLst>
                  <a:gs pos="0">
                    <a:srgbClr val="C7000B">
                      <a:alpha val="20000"/>
                    </a:srgbClr>
                  </a:gs>
                  <a:gs pos="100000">
                    <a:srgbClr val="C7000B">
                      <a:alpha val="0"/>
                    </a:srgbClr>
                  </a:gs>
                </a:gsLst>
                <a:lin ang="5400000" scaled="1"/>
                <a:tileRect/>
              </a:gradFill>
              <a:ln w="12700">
                <a:gradFill flip="none" rotWithShape="1">
                  <a:gsLst>
                    <a:gs pos="0">
                      <a:srgbClr val="C7000B">
                        <a:alpha val="0"/>
                      </a:srgbClr>
                    </a:gs>
                    <a:gs pos="100000">
                      <a:srgbClr val="C7000B">
                        <a:alpha val="31000"/>
                      </a:srgbClr>
                    </a:gs>
                  </a:gsLst>
                  <a:lin ang="16200000" scaled="1"/>
                  <a:tileRect/>
                </a:gradFill>
                <a:miter lim="800000"/>
              </a:ln>
            </p:spPr>
            <p:txBody>
              <a:bodyPr lIns="121926" tIns="60963" rIns="121926" bIns="60963"/>
              <a:lstStyle/>
              <a:p>
                <a:endParaRPr lang="zh-CN" altLang="en-US" sz="3200">
                  <a:solidFill>
                    <a:schemeClr val="bg2">
                      <a:lumMod val="1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46311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699">
        <p:fade/>
      </p:transition>
    </mc:Choice>
    <mc:Fallback xmlns:a14="http://schemas.microsoft.com/office/drawing/2010/main" xmlns:m="http://schemas.openxmlformats.org/officeDocument/2006/math" xmlns="">
      <p:transition spd="fast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18">
            <a:extLst>
              <a:ext uri="{FF2B5EF4-FFF2-40B4-BE49-F238E27FC236}">
                <a16:creationId xmlns:a16="http://schemas.microsoft.com/office/drawing/2014/main" id="{5CD866C1-91AE-42F2-9A34-BEE54CC84C91}"/>
              </a:ext>
            </a:extLst>
          </p:cNvPr>
          <p:cNvSpPr/>
          <p:nvPr/>
        </p:nvSpPr>
        <p:spPr>
          <a:xfrm>
            <a:off x="718938" y="2434588"/>
            <a:ext cx="10734378" cy="1896287"/>
          </a:xfrm>
          <a:prstGeom prst="rect">
            <a:avLst/>
          </a:prstGeom>
          <a:gradFill>
            <a:gsLst>
              <a:gs pos="100000">
                <a:schemeClr val="bg1">
                  <a:lumMod val="60000"/>
                  <a:lumOff val="40000"/>
                  <a:alpha val="0"/>
                </a:schemeClr>
              </a:gs>
              <a:gs pos="33000">
                <a:schemeClr val="bg1">
                  <a:lumMod val="60000"/>
                  <a:lumOff val="40000"/>
                  <a:alpha val="15000"/>
                </a:schemeClr>
              </a:gs>
            </a:gsLst>
            <a:lin ang="5400000" scaled="0"/>
          </a:gradFill>
          <a:ln w="6350">
            <a:gradFill>
              <a:gsLst>
                <a:gs pos="0">
                  <a:schemeClr val="bg1">
                    <a:lumMod val="40000"/>
                    <a:lumOff val="60000"/>
                  </a:schemeClr>
                </a:gs>
                <a:gs pos="100000">
                  <a:schemeClr val="bg1">
                    <a:lumMod val="40000"/>
                    <a:lumOff val="60000"/>
                    <a:alpha val="0"/>
                  </a:schemeClr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defTabSz="914477">
              <a:lnSpc>
                <a:spcPct val="120000"/>
              </a:lnSpc>
            </a:pPr>
            <a:endParaRPr kumimoji="1" lang="zh-CN" altLang="en-US" sz="1200">
              <a:solidFill>
                <a:srgbClr val="FFFFFF"/>
              </a:solidFill>
              <a:latin typeface="微软雅黑" panose="020B0503020204020204" pitchFamily="34" charset="-122"/>
            </a:endParaRPr>
          </a:p>
        </p:txBody>
      </p:sp>
      <p:sp>
        <p:nvSpPr>
          <p:cNvPr id="21" name="梯形 20">
            <a:extLst>
              <a:ext uri="{FF2B5EF4-FFF2-40B4-BE49-F238E27FC236}">
                <a16:creationId xmlns:a16="http://schemas.microsoft.com/office/drawing/2014/main" id="{8F4AE168-B07F-4110-BCB6-B93F6B88474C}"/>
              </a:ext>
            </a:extLst>
          </p:cNvPr>
          <p:cNvSpPr/>
          <p:nvPr/>
        </p:nvSpPr>
        <p:spPr>
          <a:xfrm>
            <a:off x="744700" y="2406293"/>
            <a:ext cx="10682854" cy="897167"/>
          </a:xfrm>
          <a:prstGeom prst="trapezoid">
            <a:avLst>
              <a:gd name="adj" fmla="val 261131"/>
            </a:avLst>
          </a:prstGeom>
          <a:gradFill>
            <a:gsLst>
              <a:gs pos="0">
                <a:srgbClr val="666666">
                  <a:lumMod val="40000"/>
                  <a:lumOff val="60000"/>
                  <a:alpha val="10000"/>
                </a:srgbClr>
              </a:gs>
              <a:gs pos="67000">
                <a:srgbClr val="666666">
                  <a:lumMod val="40000"/>
                  <a:lumOff val="60000"/>
                  <a:alpha val="0"/>
                </a:srgbClr>
              </a:gs>
            </a:gsLst>
            <a:lin ang="16200000" scaled="1"/>
          </a:gradFill>
          <a:ln w="6350" cap="flat" cmpd="sng" algn="ctr">
            <a:gradFill flip="none" rotWithShape="1">
              <a:gsLst>
                <a:gs pos="0">
                  <a:srgbClr val="666666">
                    <a:lumMod val="40000"/>
                    <a:lumOff val="60000"/>
                    <a:alpha val="50000"/>
                  </a:srgbClr>
                </a:gs>
                <a:gs pos="71000">
                  <a:srgbClr val="666666">
                    <a:lumMod val="40000"/>
                    <a:lumOff val="60000"/>
                    <a:alpha val="0"/>
                  </a:srgbClr>
                </a:gs>
              </a:gsLst>
              <a:lin ang="16200000" scaled="1"/>
              <a:tileRect/>
            </a:gradFill>
            <a:prstDash val="solid"/>
            <a:miter lim="800000"/>
          </a:ln>
          <a:effectLst>
            <a:outerShdw blurRad="50800" dist="38100" dir="5400000" sx="99000" sy="99000" algn="ctr" rotWithShape="0">
              <a:srgbClr val="000000">
                <a:alpha val="10000"/>
              </a:srgbClr>
            </a:outerShdw>
          </a:effectLst>
        </p:spPr>
        <p:txBody>
          <a:bodyPr lIns="108008" tIns="45724" rIns="91447" bIns="45724" anchor="ctr">
            <a:noAutofit/>
          </a:bodyPr>
          <a:lstStyle/>
          <a:p>
            <a:pPr defTabSz="1219540" fontAlgn="ctr"/>
            <a:endParaRPr lang="zh-CN" altLang="en-US" sz="1100" b="1" kern="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7" name="梯形 16">
            <a:extLst>
              <a:ext uri="{FF2B5EF4-FFF2-40B4-BE49-F238E27FC236}">
                <a16:creationId xmlns:a16="http://schemas.microsoft.com/office/drawing/2014/main" id="{057C3250-E905-4910-B60E-C2942ADB63ED}"/>
              </a:ext>
            </a:extLst>
          </p:cNvPr>
          <p:cNvSpPr/>
          <p:nvPr/>
        </p:nvSpPr>
        <p:spPr>
          <a:xfrm>
            <a:off x="744700" y="5111119"/>
            <a:ext cx="10682854" cy="779108"/>
          </a:xfrm>
          <a:prstGeom prst="trapezoid">
            <a:avLst>
              <a:gd name="adj" fmla="val 261131"/>
            </a:avLst>
          </a:prstGeom>
          <a:gradFill>
            <a:gsLst>
              <a:gs pos="0">
                <a:srgbClr val="666666">
                  <a:lumMod val="40000"/>
                  <a:lumOff val="60000"/>
                  <a:alpha val="10000"/>
                </a:srgbClr>
              </a:gs>
              <a:gs pos="67000">
                <a:srgbClr val="666666">
                  <a:lumMod val="40000"/>
                  <a:lumOff val="60000"/>
                  <a:alpha val="0"/>
                </a:srgbClr>
              </a:gs>
            </a:gsLst>
            <a:lin ang="16200000" scaled="1"/>
          </a:gradFill>
          <a:ln w="6350" cap="flat" cmpd="sng" algn="ctr">
            <a:gradFill flip="none" rotWithShape="1">
              <a:gsLst>
                <a:gs pos="0">
                  <a:srgbClr val="666666">
                    <a:lumMod val="40000"/>
                    <a:lumOff val="60000"/>
                    <a:alpha val="50000"/>
                  </a:srgbClr>
                </a:gs>
                <a:gs pos="71000">
                  <a:srgbClr val="666666">
                    <a:lumMod val="40000"/>
                    <a:lumOff val="60000"/>
                    <a:alpha val="0"/>
                  </a:srgbClr>
                </a:gs>
              </a:gsLst>
              <a:lin ang="16200000" scaled="1"/>
              <a:tileRect/>
            </a:gradFill>
            <a:prstDash val="solid"/>
            <a:miter lim="800000"/>
          </a:ln>
          <a:effectLst>
            <a:outerShdw blurRad="50800" dist="38100" dir="5400000" sx="99000" sy="99000" algn="ctr" rotWithShape="0">
              <a:srgbClr val="000000">
                <a:alpha val="10000"/>
              </a:srgbClr>
            </a:outerShdw>
          </a:effectLst>
        </p:spPr>
        <p:txBody>
          <a:bodyPr lIns="108008" tIns="45724" rIns="91447" bIns="45724" anchor="ctr">
            <a:noAutofit/>
          </a:bodyPr>
          <a:lstStyle/>
          <a:p>
            <a:pPr defTabSz="1219540" fontAlgn="ctr"/>
            <a:endParaRPr lang="zh-CN" altLang="en-US" sz="1100" b="1" kern="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0" name="梯形 19">
            <a:extLst>
              <a:ext uri="{FF2B5EF4-FFF2-40B4-BE49-F238E27FC236}">
                <a16:creationId xmlns:a16="http://schemas.microsoft.com/office/drawing/2014/main" id="{249D0DB4-64D2-448D-9593-609841FAA217}"/>
              </a:ext>
            </a:extLst>
          </p:cNvPr>
          <p:cNvSpPr/>
          <p:nvPr/>
        </p:nvSpPr>
        <p:spPr>
          <a:xfrm>
            <a:off x="744700" y="1537063"/>
            <a:ext cx="10682854" cy="897167"/>
          </a:xfrm>
          <a:prstGeom prst="trapezoid">
            <a:avLst>
              <a:gd name="adj" fmla="val 261131"/>
            </a:avLst>
          </a:prstGeom>
          <a:gradFill>
            <a:gsLst>
              <a:gs pos="0">
                <a:srgbClr val="666666">
                  <a:lumMod val="40000"/>
                  <a:lumOff val="60000"/>
                  <a:alpha val="27000"/>
                </a:srgbClr>
              </a:gs>
              <a:gs pos="67000">
                <a:srgbClr val="666666">
                  <a:lumMod val="40000"/>
                  <a:lumOff val="60000"/>
                  <a:alpha val="0"/>
                </a:srgbClr>
              </a:gs>
            </a:gsLst>
            <a:lin ang="16200000" scaled="1"/>
          </a:gradFill>
          <a:ln w="6350" cap="flat" cmpd="sng" algn="ctr">
            <a:gradFill flip="none" rotWithShape="1">
              <a:gsLst>
                <a:gs pos="0">
                  <a:srgbClr val="666666">
                    <a:lumMod val="40000"/>
                    <a:lumOff val="60000"/>
                  </a:srgbClr>
                </a:gs>
                <a:gs pos="71000">
                  <a:srgbClr val="666666">
                    <a:lumMod val="40000"/>
                    <a:lumOff val="60000"/>
                    <a:alpha val="0"/>
                  </a:srgbClr>
                </a:gs>
              </a:gsLst>
              <a:lin ang="16200000" scaled="1"/>
              <a:tileRect/>
            </a:gradFill>
            <a:prstDash val="solid"/>
            <a:miter lim="800000"/>
          </a:ln>
          <a:effectLst>
            <a:outerShdw blurRad="50800" dist="38100" dir="5400000" sx="99000" sy="99000" algn="ctr" rotWithShape="0">
              <a:srgbClr val="000000">
                <a:alpha val="10000"/>
              </a:srgbClr>
            </a:outerShdw>
          </a:effectLst>
        </p:spPr>
        <p:txBody>
          <a:bodyPr lIns="108008" tIns="45724" rIns="91447" bIns="45724" anchor="ctr">
            <a:noAutofit/>
          </a:bodyPr>
          <a:lstStyle/>
          <a:p>
            <a:pPr defTabSz="1219540" fontAlgn="ctr"/>
            <a:endParaRPr lang="zh-CN" altLang="en-US" sz="1100" b="1" kern="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9" name="梯形 48">
            <a:extLst>
              <a:ext uri="{FF2B5EF4-FFF2-40B4-BE49-F238E27FC236}">
                <a16:creationId xmlns:a16="http://schemas.microsoft.com/office/drawing/2014/main" id="{C6A5EB75-9BBF-4D7A-90DD-9089745B8BE7}"/>
              </a:ext>
            </a:extLst>
          </p:cNvPr>
          <p:cNvSpPr/>
          <p:nvPr/>
        </p:nvSpPr>
        <p:spPr>
          <a:xfrm>
            <a:off x="716855" y="4033129"/>
            <a:ext cx="10682854" cy="897167"/>
          </a:xfrm>
          <a:prstGeom prst="trapezoid">
            <a:avLst>
              <a:gd name="adj" fmla="val 245842"/>
            </a:avLst>
          </a:prstGeom>
          <a:gradFill>
            <a:gsLst>
              <a:gs pos="0">
                <a:srgbClr val="666666">
                  <a:lumMod val="40000"/>
                  <a:lumOff val="60000"/>
                  <a:alpha val="27000"/>
                </a:srgbClr>
              </a:gs>
              <a:gs pos="67000">
                <a:srgbClr val="666666">
                  <a:lumMod val="40000"/>
                  <a:lumOff val="60000"/>
                  <a:alpha val="0"/>
                </a:srgbClr>
              </a:gs>
            </a:gsLst>
            <a:lin ang="16200000" scaled="1"/>
          </a:gradFill>
          <a:ln w="6350" cap="flat" cmpd="sng" algn="ctr">
            <a:gradFill flip="none" rotWithShape="1">
              <a:gsLst>
                <a:gs pos="0">
                  <a:srgbClr val="666666">
                    <a:lumMod val="40000"/>
                    <a:lumOff val="60000"/>
                  </a:srgbClr>
                </a:gs>
                <a:gs pos="71000">
                  <a:srgbClr val="666666">
                    <a:lumMod val="40000"/>
                    <a:lumOff val="60000"/>
                    <a:alpha val="0"/>
                  </a:srgbClr>
                </a:gs>
              </a:gsLst>
              <a:lin ang="16200000" scaled="1"/>
              <a:tileRect/>
            </a:gradFill>
            <a:prstDash val="solid"/>
            <a:miter lim="800000"/>
          </a:ln>
          <a:effectLst>
            <a:outerShdw blurRad="50800" dist="38100" dir="5400000" sx="99000" sy="99000" algn="ctr" rotWithShape="0">
              <a:srgbClr val="000000">
                <a:alpha val="10000"/>
              </a:srgbClr>
            </a:outerShdw>
          </a:effectLst>
        </p:spPr>
        <p:txBody>
          <a:bodyPr lIns="108008" tIns="45724" rIns="91447" bIns="45724" anchor="ctr">
            <a:noAutofit/>
          </a:bodyPr>
          <a:lstStyle/>
          <a:p>
            <a:pPr defTabSz="1219540" fontAlgn="ctr"/>
            <a:endParaRPr lang="zh-CN" altLang="en-US" sz="1100" b="1" kern="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ED1003D9-4EB5-4A96-8BD9-60CE62DEE047}"/>
              </a:ext>
            </a:extLst>
          </p:cNvPr>
          <p:cNvSpPr/>
          <p:nvPr/>
        </p:nvSpPr>
        <p:spPr>
          <a:xfrm>
            <a:off x="772643" y="4941641"/>
            <a:ext cx="10734378" cy="998661"/>
          </a:xfrm>
          <a:prstGeom prst="rect">
            <a:avLst/>
          </a:prstGeom>
          <a:gradFill>
            <a:gsLst>
              <a:gs pos="100000">
                <a:schemeClr val="bg1">
                  <a:lumMod val="60000"/>
                  <a:lumOff val="40000"/>
                  <a:alpha val="0"/>
                </a:schemeClr>
              </a:gs>
              <a:gs pos="33000">
                <a:schemeClr val="bg1">
                  <a:lumMod val="60000"/>
                  <a:lumOff val="40000"/>
                  <a:alpha val="15000"/>
                </a:schemeClr>
              </a:gs>
            </a:gsLst>
            <a:lin ang="5400000" scaled="0"/>
          </a:gradFill>
          <a:ln w="6350">
            <a:gradFill>
              <a:gsLst>
                <a:gs pos="0">
                  <a:schemeClr val="bg1">
                    <a:lumMod val="40000"/>
                    <a:lumOff val="60000"/>
                  </a:schemeClr>
                </a:gs>
                <a:gs pos="100000">
                  <a:schemeClr val="bg1">
                    <a:lumMod val="40000"/>
                    <a:lumOff val="60000"/>
                    <a:alpha val="0"/>
                  </a:schemeClr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defTabSz="914477">
              <a:lnSpc>
                <a:spcPct val="120000"/>
              </a:lnSpc>
            </a:pPr>
            <a:endParaRPr kumimoji="1" lang="zh-CN" altLang="en-US" sz="1200">
              <a:solidFill>
                <a:srgbClr val="FFFFFF"/>
              </a:solidFill>
              <a:latin typeface="微软雅黑" panose="020B0503020204020204" pitchFamily="34" charset="-122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1832398" y="1285326"/>
            <a:ext cx="1522386" cy="726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420" tIns="3420" rIns="3420" bIns="3420">
            <a:spAutoFit/>
          </a:bodyPr>
          <a:lstStyle/>
          <a:p>
            <a:pPr algn="ctr" defTabSz="1450395">
              <a:lnSpc>
                <a:spcPct val="130000"/>
              </a:lnSpc>
            </a:pPr>
            <a:r>
              <a:rPr lang="en-US" altLang="zh-CN" sz="3599" spc="9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2.2</a:t>
            </a:r>
            <a:r>
              <a:rPr lang="zh-CN" altLang="en-US" sz="3599" spc="9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亿</a:t>
            </a:r>
            <a:r>
              <a:rPr lang="en-US" altLang="zh-CN" sz="3599" spc="9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+</a:t>
            </a:r>
          </a:p>
        </p:txBody>
      </p:sp>
      <p:sp>
        <p:nvSpPr>
          <p:cNvPr id="32" name="矩形 31"/>
          <p:cNvSpPr/>
          <p:nvPr/>
        </p:nvSpPr>
        <p:spPr>
          <a:xfrm>
            <a:off x="1406179" y="2051230"/>
            <a:ext cx="2164787" cy="258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21159" tIns="21159" rIns="21159" bIns="21159" anchor="ctr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zh-CN" altLang="en-US" sz="14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华为设备搭载</a:t>
            </a:r>
            <a:r>
              <a:rPr lang="en-US" altLang="zh-CN" sz="1400" dirty="0" err="1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armonyOS</a:t>
            </a:r>
            <a:endParaRPr lang="en-US" altLang="zh-CN" sz="14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3" name="矩形 52"/>
          <p:cNvSpPr/>
          <p:nvPr/>
        </p:nvSpPr>
        <p:spPr>
          <a:xfrm>
            <a:off x="1931842" y="3805406"/>
            <a:ext cx="1682687" cy="726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420" tIns="3420" rIns="3420" bIns="3420">
            <a:spAutoFit/>
          </a:bodyPr>
          <a:lstStyle/>
          <a:p>
            <a:pPr algn="ctr" defTabSz="1450395">
              <a:lnSpc>
                <a:spcPct val="130000"/>
              </a:lnSpc>
            </a:pPr>
            <a:r>
              <a:rPr lang="en-US" altLang="zh-CN" sz="3599" spc="9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540</a:t>
            </a:r>
            <a:r>
              <a:rPr lang="zh-CN" altLang="en-US" sz="3599" spc="9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万</a:t>
            </a:r>
            <a:r>
              <a:rPr lang="en-US" altLang="zh-CN" sz="3599" spc="9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+</a:t>
            </a:r>
          </a:p>
        </p:txBody>
      </p:sp>
      <p:sp>
        <p:nvSpPr>
          <p:cNvPr id="54" name="矩形 53"/>
          <p:cNvSpPr/>
          <p:nvPr/>
        </p:nvSpPr>
        <p:spPr>
          <a:xfrm>
            <a:off x="2238859" y="4462806"/>
            <a:ext cx="1068653" cy="331657"/>
          </a:xfrm>
          <a:prstGeom prst="rect">
            <a:avLst/>
          </a:prstGeom>
        </p:spPr>
        <p:txBody>
          <a:bodyPr wrap="none" lIns="21159" tIns="21159" rIns="21159" bIns="21159" anchor="ctr">
            <a:spAutoFit/>
          </a:bodyPr>
          <a:lstStyle/>
          <a:p>
            <a:pPr algn="ctr" defTabSz="1450395">
              <a:lnSpc>
                <a:spcPct val="130000"/>
              </a:lnSpc>
            </a:pPr>
            <a:r>
              <a:rPr lang="zh-CN" altLang="en-US" sz="16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应用开发者</a:t>
            </a:r>
          </a:p>
        </p:txBody>
      </p:sp>
      <p:sp>
        <p:nvSpPr>
          <p:cNvPr id="55" name="矩形 54"/>
          <p:cNvSpPr/>
          <p:nvPr/>
        </p:nvSpPr>
        <p:spPr>
          <a:xfrm>
            <a:off x="5183646" y="3805406"/>
            <a:ext cx="1804963" cy="726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420" tIns="3420" rIns="3420" bIns="3420">
            <a:spAutoFit/>
          </a:bodyPr>
          <a:lstStyle/>
          <a:p>
            <a:pPr algn="ctr" defTabSz="1450395">
              <a:lnSpc>
                <a:spcPct val="130000"/>
              </a:lnSpc>
            </a:pPr>
            <a:r>
              <a:rPr lang="en-US" altLang="zh-CN" sz="3599" spc="9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18.7</a:t>
            </a:r>
            <a:r>
              <a:rPr lang="zh-CN" altLang="en-US" sz="3599" spc="9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万</a:t>
            </a:r>
            <a:r>
              <a:rPr lang="en-US" altLang="zh-CN" sz="3599" spc="9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+</a:t>
            </a:r>
          </a:p>
        </p:txBody>
      </p:sp>
      <p:sp>
        <p:nvSpPr>
          <p:cNvPr id="56" name="矩形 55"/>
          <p:cNvSpPr/>
          <p:nvPr/>
        </p:nvSpPr>
        <p:spPr>
          <a:xfrm>
            <a:off x="5154897" y="4462806"/>
            <a:ext cx="1862461" cy="331657"/>
          </a:xfrm>
          <a:prstGeom prst="rect">
            <a:avLst/>
          </a:prstGeom>
        </p:spPr>
        <p:txBody>
          <a:bodyPr wrap="none" lIns="21159" tIns="21159" rIns="21159" bIns="21159" anchor="ctr">
            <a:spAutoFit/>
          </a:bodyPr>
          <a:lstStyle/>
          <a:p>
            <a:pPr algn="ctr" defTabSz="1450395">
              <a:lnSpc>
                <a:spcPct val="130000"/>
              </a:lnSpc>
            </a:pPr>
            <a:r>
              <a:rPr lang="zh-CN" altLang="en-US" sz="16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集成</a:t>
            </a:r>
            <a:r>
              <a:rPr lang="en-US" altLang="zh-CN" sz="16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HMS Core</a:t>
            </a:r>
            <a:r>
              <a:rPr lang="zh-CN" altLang="en-US" sz="16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应用</a:t>
            </a:r>
          </a:p>
        </p:txBody>
      </p:sp>
      <p:sp>
        <p:nvSpPr>
          <p:cNvPr id="57" name="矩形 56"/>
          <p:cNvSpPr/>
          <p:nvPr/>
        </p:nvSpPr>
        <p:spPr>
          <a:xfrm>
            <a:off x="8751056" y="3805406"/>
            <a:ext cx="1522386" cy="726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420" tIns="3420" rIns="3420" bIns="3420">
            <a:spAutoFit/>
          </a:bodyPr>
          <a:lstStyle/>
          <a:p>
            <a:pPr algn="ctr" defTabSz="1450395">
              <a:lnSpc>
                <a:spcPct val="130000"/>
              </a:lnSpc>
            </a:pPr>
            <a:r>
              <a:rPr lang="en-US" altLang="zh-CN" sz="3599" spc="9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5.8</a:t>
            </a:r>
            <a:r>
              <a:rPr lang="zh-CN" altLang="en-US" sz="3599" spc="9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亿</a:t>
            </a:r>
            <a:r>
              <a:rPr lang="en-US" altLang="zh-CN" sz="3599" spc="9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+</a:t>
            </a:r>
          </a:p>
        </p:txBody>
      </p:sp>
      <p:sp>
        <p:nvSpPr>
          <p:cNvPr id="58" name="矩形 57"/>
          <p:cNvSpPr/>
          <p:nvPr/>
        </p:nvSpPr>
        <p:spPr>
          <a:xfrm>
            <a:off x="8464961" y="4462806"/>
            <a:ext cx="2094576" cy="331657"/>
          </a:xfrm>
          <a:prstGeom prst="rect">
            <a:avLst/>
          </a:prstGeom>
        </p:spPr>
        <p:txBody>
          <a:bodyPr wrap="none" lIns="21159" tIns="21159" rIns="21159" bIns="21159" anchor="ctr">
            <a:spAutoFit/>
          </a:bodyPr>
          <a:lstStyle/>
          <a:p>
            <a:pPr algn="ctr" defTabSz="1450395">
              <a:lnSpc>
                <a:spcPct val="130000"/>
              </a:lnSpc>
            </a:pPr>
            <a:r>
              <a:rPr lang="zh-CN" altLang="en-US" sz="1600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应用市场全球月活用户</a:t>
            </a:r>
          </a:p>
        </p:txBody>
      </p:sp>
      <p:sp>
        <p:nvSpPr>
          <p:cNvPr id="59" name="矩形 58"/>
          <p:cNvSpPr/>
          <p:nvPr/>
        </p:nvSpPr>
        <p:spPr>
          <a:xfrm>
            <a:off x="5186622" y="2689767"/>
            <a:ext cx="18049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8468"/>
            <a:r>
              <a:rPr lang="zh-CN" altLang="en-US" sz="2400" b="1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硬件生态</a:t>
            </a:r>
            <a:endParaRPr lang="en-US" altLang="zh-CN" sz="2800" b="1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5330556" y="5255569"/>
            <a:ext cx="15574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8468"/>
            <a:r>
              <a:rPr lang="zh-CN" altLang="en-US" sz="2400" b="1" dirty="0">
                <a:solidFill>
                  <a:schemeClr val="bg2">
                    <a:lumMod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软件生态</a:t>
            </a:r>
            <a:endParaRPr lang="en-US" altLang="zh-CN" sz="2400" b="1" dirty="0">
              <a:solidFill>
                <a:schemeClr val="bg2">
                  <a:lumMod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18" name="副标题 1">
            <a:extLst>
              <a:ext uri="{FF2B5EF4-FFF2-40B4-BE49-F238E27FC236}">
                <a16:creationId xmlns:a16="http://schemas.microsoft.com/office/drawing/2014/main" id="{C8EEA83C-C57B-4021-AC11-C96081E120E3}"/>
              </a:ext>
            </a:extLst>
          </p:cNvPr>
          <p:cNvSpPr txBox="1">
            <a:spLocks/>
          </p:cNvSpPr>
          <p:nvPr/>
        </p:nvSpPr>
        <p:spPr>
          <a:xfrm>
            <a:off x="723900" y="447675"/>
            <a:ext cx="107315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96950" indent="-296950" algn="l" defTabSz="1187798" rtl="0" eaLnBrk="1" latinLnBrk="0" hangingPunct="1">
              <a:lnSpc>
                <a:spcPct val="90000"/>
              </a:lnSpc>
              <a:spcBef>
                <a:spcPts val="1299"/>
              </a:spcBef>
              <a:buFont typeface="Arial" panose="020B0604020202020204" pitchFamily="34" charset="0"/>
              <a:buChar char="•"/>
              <a:defRPr sz="363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90849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311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84748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5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78648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72547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6447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60346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54245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48144" indent="-296950" algn="l" defTabSz="1187798" rtl="0" eaLnBrk="1" latinLnBrk="0" hangingPunct="1">
              <a:lnSpc>
                <a:spcPct val="90000"/>
              </a:lnSpc>
              <a:spcBef>
                <a:spcPts val="650"/>
              </a:spcBef>
              <a:buFont typeface="Arial" panose="020B0604020202020204" pitchFamily="34" charset="0"/>
              <a:buChar char="•"/>
              <a:defRPr sz="233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终端业务：加速生态化转型，</a:t>
            </a:r>
            <a:r>
              <a:rPr lang="zh-CN" altLang="en-US" sz="2800" dirty="0"/>
              <a:t>全场景终端布局不断完善</a:t>
            </a:r>
            <a:endParaRPr lang="zh-CN" altLang="en-US" sz="2800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6699985" y="2049297"/>
            <a:ext cx="1479022" cy="258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21159" tIns="21159" rIns="21159" bIns="21159" anchor="ctr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zh-CN" altLang="en-US" sz="14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鸿蒙智联认证产品</a:t>
            </a:r>
          </a:p>
        </p:txBody>
      </p:sp>
      <p:sp>
        <p:nvSpPr>
          <p:cNvPr id="4" name="矩形 3"/>
          <p:cNvSpPr/>
          <p:nvPr/>
        </p:nvSpPr>
        <p:spPr>
          <a:xfrm>
            <a:off x="4159271" y="1353103"/>
            <a:ext cx="1650031" cy="596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21159" tIns="21159" rIns="21159" bIns="21159" anchor="ctr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altLang="zh-CN" sz="3599" spc="9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1,900+</a:t>
            </a:r>
          </a:p>
        </p:txBody>
      </p:sp>
      <p:sp>
        <p:nvSpPr>
          <p:cNvPr id="5" name="矩形 4"/>
          <p:cNvSpPr/>
          <p:nvPr/>
        </p:nvSpPr>
        <p:spPr>
          <a:xfrm>
            <a:off x="9343175" y="1338582"/>
            <a:ext cx="1358540" cy="596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21159" tIns="21159" rIns="21159" bIns="21159" anchor="ctr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altLang="zh-CN" sz="3599" spc="9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1</a:t>
            </a:r>
            <a:r>
              <a:rPr lang="zh-CN" altLang="en-US" sz="3599" spc="9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亿</a:t>
            </a:r>
            <a:r>
              <a:rPr lang="en-US" altLang="zh-CN" sz="3599" spc="9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+</a:t>
            </a:r>
            <a:r>
              <a:rPr lang="zh-CN" altLang="en-US" sz="16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台</a:t>
            </a:r>
            <a:endParaRPr lang="en-US" altLang="zh-CN" sz="16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3945434" y="2031612"/>
            <a:ext cx="198002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zh-CN" altLang="en-US" sz="14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鸿蒙智联生态合作伙伴</a:t>
            </a:r>
          </a:p>
        </p:txBody>
      </p:sp>
      <p:sp>
        <p:nvSpPr>
          <p:cNvPr id="7" name="矩形 6"/>
          <p:cNvSpPr/>
          <p:nvPr/>
        </p:nvSpPr>
        <p:spPr>
          <a:xfrm>
            <a:off x="6715578" y="1335413"/>
            <a:ext cx="1650031" cy="596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21159" tIns="21159" rIns="21159" bIns="21159" anchor="ctr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altLang="zh-CN" sz="3599" spc="9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4,500+</a:t>
            </a:r>
            <a:endParaRPr lang="zh-CN" altLang="en-US" sz="3599" spc="9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8763072" y="2028610"/>
            <a:ext cx="240322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altLang="zh-CN" sz="14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1</a:t>
            </a:r>
            <a:r>
              <a:rPr lang="zh-CN" altLang="en-US" sz="14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新增生态设备发货量</a:t>
            </a:r>
          </a:p>
        </p:txBody>
      </p:sp>
    </p:spTree>
    <p:extLst>
      <p:ext uri="{BB962C8B-B14F-4D97-AF65-F5344CB8AC3E}">
        <p14:creationId xmlns:p14="http://schemas.microsoft.com/office/powerpoint/2010/main" val="6775773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GUIDESSETTING" val="{&quot;Id&quot;:&quot;f621486e-c890-437d-af74-3b14c27e716d&quot;,&quot;Name&quot;:&quot;常用&quot;,&quot;Kind&quot;:&quot;Custom&quot;,&quot;OldGuidesSetting&quot;:{&quot;HeaderHeight&quot;:13.0,&quot;FooterHeight&quot;:8.0,&quot;SideMargin&quot;:6.0,&quot;TopMargin&quot;:0.0,&quot;BottomMargin&quot;:0.0,&quot;IntervalMargin&quot;:4.0}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2899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heme/theme1.xml><?xml version="1.0" encoding="utf-8"?>
<a:theme xmlns:a="http://schemas.openxmlformats.org/drawingml/2006/main" name="封面页_图片版 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sz="3200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模板_白色_16_9" id="{7CD4B91F-273A-4322-964F-6BD7E403B39E}" vid="{EDDCFD7F-1BE1-4B01-AFBE-DDFEA18E57E6}"/>
    </a:ext>
  </a:extLst>
</a:theme>
</file>

<file path=ppt/theme/theme10.xml><?xml version="1.0" encoding="utf-8"?>
<a:theme xmlns:a="http://schemas.openxmlformats.org/drawingml/2006/main" name="13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FC34AD67-7538-4717-9A73-50191031DBF3}"/>
    </a:ext>
  </a:extLst>
</a:theme>
</file>

<file path=ppt/theme/theme11.xml><?xml version="1.0" encoding="utf-8"?>
<a:theme xmlns:a="http://schemas.openxmlformats.org/drawingml/2006/main" name="14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D32D5DDB-272C-4C67-B406-8E746D48844B}" vid="{92EF5A61-0BC5-4219-ADEF-E90BB03A87F9}"/>
    </a:ext>
  </a:extLst>
</a:theme>
</file>

<file path=ppt/theme/theme12.xml><?xml version="1.0" encoding="utf-8"?>
<a:theme xmlns:a="http://schemas.openxmlformats.org/drawingml/2006/main" name="36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模板_白色_16_9" id="{7CD4B91F-273A-4322-964F-6BD7E403B39E}" vid="{7466A2A5-F21C-401E-B6D0-CA69BF331BD4}"/>
    </a:ext>
  </a:extLst>
</a:theme>
</file>

<file path=ppt/theme/theme13.xml><?xml version="1.0" encoding="utf-8"?>
<a:theme xmlns:a="http://schemas.openxmlformats.org/drawingml/2006/main" name="17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rv54sisk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模板_白色_16_9" id="{7CD4B91F-273A-4322-964F-6BD7E403B39E}" vid="{7466A2A5-F21C-401E-B6D0-CA69BF331BD4}"/>
    </a:ext>
  </a:extLst>
</a:theme>
</file>

<file path=ppt/theme/theme14.xml><?xml version="1.0" encoding="utf-8"?>
<a:theme xmlns:a="http://schemas.openxmlformats.org/drawingml/2006/main" name="5_Chart page">
  <a:themeElements>
    <a:clrScheme name="Custom 29">
      <a:dk1>
        <a:srgbClr val="1D1D1A"/>
      </a:dk1>
      <a:lt1>
        <a:srgbClr val="666666"/>
      </a:lt1>
      <a:dk2>
        <a:srgbClr val="FFFFFF"/>
      </a:dk2>
      <a:lt2>
        <a:srgbClr val="EBEBEB"/>
      </a:lt2>
      <a:accent1>
        <a:srgbClr val="C7000A"/>
      </a:accent1>
      <a:accent2>
        <a:srgbClr val="E9002F"/>
      </a:accent2>
      <a:accent3>
        <a:srgbClr val="F4A100"/>
      </a:accent3>
      <a:accent4>
        <a:srgbClr val="FFFF00"/>
      </a:accent4>
      <a:accent5>
        <a:srgbClr val="232323"/>
      </a:accent5>
      <a:accent6>
        <a:srgbClr val="666666"/>
      </a:accent6>
      <a:hlink>
        <a:srgbClr val="919191"/>
      </a:hlink>
      <a:folHlink>
        <a:srgbClr val="C4C4C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A002F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algn="l">
          <a:defRPr dirty="0" smtClean="0"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44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模板_白色_16_9" id="{7CD4B91F-273A-4322-964F-6BD7E403B39E}" vid="{7466A2A5-F21C-401E-B6D0-CA69BF331BD4}"/>
    </a:ext>
  </a:extLst>
</a:theme>
</file>

<file path=ppt/theme/theme16.xml><?xml version="1.0" encoding="utf-8"?>
<a:theme xmlns:a="http://schemas.openxmlformats.org/drawingml/2006/main" name="23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D32D5DDB-272C-4C67-B406-8E746D48844B}" vid="{92EF5A61-0BC5-4219-ADEF-E90BB03A87F9}"/>
    </a:ext>
  </a:extLst>
</a:theme>
</file>

<file path=ppt/theme/theme17.xml><?xml version="1.0" encoding="utf-8"?>
<a:theme xmlns:a="http://schemas.openxmlformats.org/drawingml/2006/main" name="25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模板_白色_16_9" id="{7CD4B91F-273A-4322-964F-6BD7E403B39E}" vid="{7466A2A5-F21C-401E-B6D0-CA69BF331BD4}"/>
    </a:ext>
  </a:extLst>
</a:theme>
</file>

<file path=ppt/theme/theme18.xml><?xml version="1.0" encoding="utf-8"?>
<a:theme xmlns:a="http://schemas.openxmlformats.org/drawingml/2006/main" name="26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模板_白色_16_9" id="{7CD4B91F-273A-4322-964F-6BD7E403B39E}" vid="{7466A2A5-F21C-401E-B6D0-CA69BF331BD4}"/>
    </a:ext>
  </a:extLst>
</a:theme>
</file>

<file path=ppt/theme/theme19.xml><?xml version="1.0" encoding="utf-8"?>
<a:theme xmlns:a="http://schemas.openxmlformats.org/drawingml/2006/main" name="27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模板_白色_16_9" id="{7CD4B91F-273A-4322-964F-6BD7E403B39E}" vid="{7466A2A5-F21C-401E-B6D0-CA69BF331BD4}"/>
    </a:ext>
  </a:extLst>
</a:theme>
</file>

<file path=ppt/theme/theme2.xml><?xml version="1.0" encoding="utf-8"?>
<a:theme xmlns:a="http://schemas.openxmlformats.org/drawingml/2006/main" name="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模板_白色_16_9" id="{7CD4B91F-273A-4322-964F-6BD7E403B39E}" vid="{7466A2A5-F21C-401E-B6D0-CA69BF331BD4}"/>
    </a:ext>
  </a:extLst>
</a:theme>
</file>

<file path=ppt/theme/theme20.xml><?xml version="1.0" encoding="utf-8"?>
<a:theme xmlns:a="http://schemas.openxmlformats.org/drawingml/2006/main" name="28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模板_白色_16_9" id="{7CD4B91F-273A-4322-964F-6BD7E403B39E}" vid="{7466A2A5-F21C-401E-B6D0-CA69BF331BD4}"/>
    </a:ext>
  </a:extLst>
</a:theme>
</file>

<file path=ppt/theme/theme21.xml><?xml version="1.0" encoding="utf-8"?>
<a:theme xmlns:a="http://schemas.openxmlformats.org/drawingml/2006/main" name="29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模板_白色_16_9" id="{7CD4B91F-273A-4322-964F-6BD7E403B39E}" vid="{7466A2A5-F21C-401E-B6D0-CA69BF331BD4}"/>
    </a:ext>
  </a:extLst>
</a:theme>
</file>

<file path=ppt/theme/theme22.xml><?xml version="1.0" encoding="utf-8"?>
<a:theme xmlns:a="http://schemas.openxmlformats.org/drawingml/2006/main" name="30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模板_白色_16_9" id="{7CD4B91F-273A-4322-964F-6BD7E403B39E}" vid="{7466A2A5-F21C-401E-B6D0-CA69BF331BD4}"/>
    </a:ext>
  </a:extLst>
</a:theme>
</file>

<file path=ppt/theme/theme23.xml><?xml version="1.0" encoding="utf-8"?>
<a:theme xmlns:a="http://schemas.openxmlformats.org/drawingml/2006/main" name="33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FC34AD67-7538-4717-9A73-50191031DBF3}"/>
    </a:ext>
  </a:extLst>
</a:theme>
</file>

<file path=ppt/theme/theme24.xml><?xml version="1.0" encoding="utf-8"?>
<a:theme xmlns:a="http://schemas.openxmlformats.org/drawingml/2006/main" name="34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模板_白色_16_9" id="{7CD4B91F-273A-4322-964F-6BD7E403B39E}" vid="{7466A2A5-F21C-401E-B6D0-CA69BF331BD4}"/>
    </a:ext>
  </a:extLst>
</a:theme>
</file>

<file path=ppt/theme/theme25.xml><?xml version="1.0" encoding="utf-8"?>
<a:theme xmlns:a="http://schemas.openxmlformats.org/drawingml/2006/main" name="35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FC34AD67-7538-4717-9A73-50191031DBF3}"/>
    </a:ext>
  </a:extLst>
</a:theme>
</file>

<file path=ppt/theme/theme26.xml><?xml version="1.0" encoding="utf-8"?>
<a:theme xmlns:a="http://schemas.openxmlformats.org/drawingml/2006/main" name="40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模板_白色_16_9" id="{7CD4B91F-273A-4322-964F-6BD7E403B39E}" vid="{7466A2A5-F21C-401E-B6D0-CA69BF331BD4}"/>
    </a:ext>
  </a:extLst>
</a:theme>
</file>

<file path=ppt/theme/theme27.xml><?xml version="1.0" encoding="utf-8"?>
<a:theme xmlns:a="http://schemas.openxmlformats.org/drawingml/2006/main" name="1_结束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kumimoji="1" sz="3200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CE9DE895-046C-40AC-AD8E-ED7DD660489B}"/>
    </a:ext>
  </a:extLst>
</a:theme>
</file>

<file path=ppt/theme/theme28.xml><?xml version="1.0" encoding="utf-8"?>
<a:theme xmlns:a="http://schemas.openxmlformats.org/drawingml/2006/main" name="41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模板_白色_16_9" id="{7CD4B91F-273A-4322-964F-6BD7E403B39E}" vid="{7466A2A5-F21C-401E-B6D0-CA69BF331BD4}"/>
    </a:ext>
  </a:extLst>
</a:theme>
</file>

<file path=ppt/theme/theme29.xml><?xml version="1.0" encoding="utf-8"?>
<a:theme xmlns:a="http://schemas.openxmlformats.org/drawingml/2006/main" name="42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模板" id="{9BBB633E-5E45-41C7-B61B-A7FDDADD335C}" vid="{FC34AD67-7538-4717-9A73-50191031DBF3}"/>
    </a:ext>
  </a:extLst>
</a:theme>
</file>

<file path=ppt/theme/theme3.xml><?xml version="1.0" encoding="utf-8"?>
<a:theme xmlns:a="http://schemas.openxmlformats.org/drawingml/2006/main" name="4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D32D5DDB-272C-4C67-B406-8E746D48844B}" vid="{92EF5A61-0BC5-4219-ADEF-E90BB03A87F9}"/>
    </a:ext>
  </a:extLst>
</a:theme>
</file>

<file path=ppt/theme/theme30.xml><?xml version="1.0" encoding="utf-8"?>
<a:theme xmlns:a="http://schemas.openxmlformats.org/drawingml/2006/main" name="45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自定义 1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模板_白色_16_9" id="{7CD4B91F-273A-4322-964F-6BD7E403B39E}" vid="{7466A2A5-F21C-401E-B6D0-CA69BF331BD4}"/>
    </a:ext>
  </a:extLst>
</a:theme>
</file>

<file path=ppt/theme/theme3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5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D32D5DDB-272C-4C67-B406-8E746D48844B}" vid="{92EF5A61-0BC5-4219-ADEF-E90BB03A87F9}"/>
    </a:ext>
  </a:extLst>
</a:theme>
</file>

<file path=ppt/theme/theme5.xml><?xml version="1.0" encoding="utf-8"?>
<a:theme xmlns:a="http://schemas.openxmlformats.org/drawingml/2006/main" name="161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4cy5bycp">
      <a:majorFont>
        <a:latin typeface="" panose="020B0A04020102020204"/>
        <a:ea typeface="微软雅黑"/>
        <a:cs typeface=""/>
      </a:majorFont>
      <a:minorFont>
        <a:latin typeface="" panose="020B0604020202020204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D32D5DDB-272C-4C67-B406-8E746D48844B}" vid="{92EF5A61-0BC5-4219-ADEF-E90BB03A87F9}"/>
    </a:ext>
  </a:extLst>
</a:theme>
</file>

<file path=ppt/theme/theme6.xml><?xml version="1.0" encoding="utf-8"?>
<a:theme xmlns:a="http://schemas.openxmlformats.org/drawingml/2006/main" name="162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4cy5bycp">
      <a:majorFont>
        <a:latin typeface="" panose="020B0A04020102020204"/>
        <a:ea typeface="微软雅黑"/>
        <a:cs typeface=""/>
      </a:majorFont>
      <a:minorFont>
        <a:latin typeface="" panose="020B0604020202020204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D32D5DDB-272C-4C67-B406-8E746D48844B}" vid="{92EF5A61-0BC5-4219-ADEF-E90BB03A87F9}"/>
    </a:ext>
  </a:extLst>
</a:theme>
</file>

<file path=ppt/theme/theme7.xml><?xml version="1.0" encoding="utf-8"?>
<a:theme xmlns:a="http://schemas.openxmlformats.org/drawingml/2006/main" name="10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模板_白色_16_9" id="{7CD4B91F-273A-4322-964F-6BD7E403B39E}" vid="{7466A2A5-F21C-401E-B6D0-CA69BF331BD4}"/>
    </a:ext>
  </a:extLst>
</a:theme>
</file>

<file path=ppt/theme/theme8.xml><?xml version="1.0" encoding="utf-8"?>
<a:theme xmlns:a="http://schemas.openxmlformats.org/drawingml/2006/main" name="11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演示文稿1" id="{358AC06C-4CE3-4A3F-B594-9738C68624A0}" vid="{9E3EAF68-ABE1-42CC-9EED-BC9EE9E8453C}"/>
    </a:ext>
  </a:extLst>
</a:theme>
</file>

<file path=ppt/theme/theme9.xml><?xml version="1.0" encoding="utf-8"?>
<a:theme xmlns:a="http://schemas.openxmlformats.org/drawingml/2006/main" name="12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演示文稿1" id="{358AC06C-4CE3-4A3F-B594-9738C68624A0}" vid="{9E3EAF68-ABE1-42CC-9EED-BC9EE9E8453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1009</TotalTime>
  <Words>1355</Words>
  <Application>Microsoft Office PowerPoint</Application>
  <PresentationFormat>自定义</PresentationFormat>
  <Paragraphs>278</Paragraphs>
  <Slides>16</Slides>
  <Notes>16</Notes>
  <HiddenSlides>0</HiddenSlides>
  <MMClips>0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30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6</vt:i4>
      </vt:variant>
    </vt:vector>
  </HeadingPairs>
  <TitlesOfParts>
    <vt:vector size="63" baseType="lpstr">
      <vt:lpstr>.AppleSystemUIFont</vt:lpstr>
      <vt:lpstr>FZLanTingHeiS-B-GB</vt:lpstr>
      <vt:lpstr>FZLanTingHeiS-R-GB</vt:lpstr>
      <vt:lpstr>Huawei Sans</vt:lpstr>
      <vt:lpstr>Huawei Sans Medium</vt:lpstr>
      <vt:lpstr>等线</vt:lpstr>
      <vt:lpstr>等线 Light</vt:lpstr>
      <vt:lpstr>方正兰亭粗黑简体</vt:lpstr>
      <vt:lpstr>宋体</vt:lpstr>
      <vt:lpstr>Microsoft YaHei</vt:lpstr>
      <vt:lpstr>Microsoft YaHei</vt:lpstr>
      <vt:lpstr>Arial</vt:lpstr>
      <vt:lpstr>Arial</vt:lpstr>
      <vt:lpstr>Calibri</vt:lpstr>
      <vt:lpstr>Calibri Light</vt:lpstr>
      <vt:lpstr>Wingdings</vt:lpstr>
      <vt:lpstr>封面页_图片版 </vt:lpstr>
      <vt:lpstr>章节页</vt:lpstr>
      <vt:lpstr>4_章节页</vt:lpstr>
      <vt:lpstr>5_章节页</vt:lpstr>
      <vt:lpstr>161_章节页</vt:lpstr>
      <vt:lpstr>162_章节页</vt:lpstr>
      <vt:lpstr>10_章节页</vt:lpstr>
      <vt:lpstr>11_章节页</vt:lpstr>
      <vt:lpstr>12_章节页</vt:lpstr>
      <vt:lpstr>13_章节页</vt:lpstr>
      <vt:lpstr>14_章节页</vt:lpstr>
      <vt:lpstr>36_章节页</vt:lpstr>
      <vt:lpstr>17_章节页</vt:lpstr>
      <vt:lpstr>5_Chart page</vt:lpstr>
      <vt:lpstr>44_章节页</vt:lpstr>
      <vt:lpstr>23_章节页</vt:lpstr>
      <vt:lpstr>25_章节页</vt:lpstr>
      <vt:lpstr>26_章节页</vt:lpstr>
      <vt:lpstr>27_章节页</vt:lpstr>
      <vt:lpstr>28_章节页</vt:lpstr>
      <vt:lpstr>29_章节页</vt:lpstr>
      <vt:lpstr>30_章节页</vt:lpstr>
      <vt:lpstr>33_章节页</vt:lpstr>
      <vt:lpstr>34_章节页</vt:lpstr>
      <vt:lpstr>35_章节页</vt:lpstr>
      <vt:lpstr>40_章节页</vt:lpstr>
      <vt:lpstr>1_结束页</vt:lpstr>
      <vt:lpstr>41_章节页</vt:lpstr>
      <vt:lpstr>42_章节页</vt:lpstr>
      <vt:lpstr>45_章节页</vt:lpstr>
      <vt:lpstr>think-cell Slide</vt:lpstr>
      <vt:lpstr>华为整体介绍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Huawei Technologies Co.,Ltd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LIANG, Yali</dc:creator>
  <cp:lastModifiedBy>xiaoqian</cp:lastModifiedBy>
  <cp:revision>3616</cp:revision>
  <cp:lastPrinted>2022-02-11T11:11:57Z</cp:lastPrinted>
  <dcterms:created xsi:type="dcterms:W3CDTF">2020-01-09T03:00:21Z</dcterms:created>
  <dcterms:modified xsi:type="dcterms:W3CDTF">2022-05-13T08:03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2015_ms_pID_725343">
    <vt:lpwstr>(3)5vxRvNHXHuQ0FPXjkgmYXopAQW1U6AlMnc0OVaZ8Hpek6cGOFUM7XSzqW8rMGn/tuCtP7mO4
30bai6jiRqK/mGzj+uT5VJ/CdZFNvYaAdYmWpLXiIslsac4cd5d7rBTyu+ehyhM/250O7wWP
1UJkdZA1Pkntl/q0UAxt8o9Z1rMr6etSIR4m6eIYpx7dadu8dLqyc/xcuWk7RN9VzciBTFVP
tQ5hE4l2F/S9oRxzyV</vt:lpwstr>
  </property>
  <property fmtid="{D5CDD505-2E9C-101B-9397-08002B2CF9AE}" pid="3" name="_2015_ms_pID_7253431">
    <vt:lpwstr>oI789NvDC/ZUVu2vdTooscpfjY5BQTVoilFZWA6N4k7AWfpoMAf6an
M5ofvacXVrRV95v53cuvfZNCaErZM71cKHt+FaufXRKW0ku+AUPnnxI0HWvMlMqk5E+Yjo85
pGgrtHCZZf02IvYFPWHSuFpCst/cZNMLJ4F7nNX7oh7Mii7y9Av1Vi1zZmUiToWQkWiEdSRj
ZPS/oUO+nQs72xtLZbHz6B/C09WM5TlefKXl</vt:lpwstr>
  </property>
  <property fmtid="{D5CDD505-2E9C-101B-9397-08002B2CF9AE}" pid="4" name="_2015_ms_pID_7253432">
    <vt:lpwstr>iA==</vt:lpwstr>
  </property>
  <property fmtid="{D5CDD505-2E9C-101B-9397-08002B2CF9AE}" pid="5" name="_readonly">
    <vt:lpwstr/>
  </property>
  <property fmtid="{D5CDD505-2E9C-101B-9397-08002B2CF9AE}" pid="6" name="_change">
    <vt:lpwstr/>
  </property>
  <property fmtid="{D5CDD505-2E9C-101B-9397-08002B2CF9AE}" pid="7" name="_full-control">
    <vt:lpwstr/>
  </property>
  <property fmtid="{D5CDD505-2E9C-101B-9397-08002B2CF9AE}" pid="8" name="sflag">
    <vt:lpwstr>1652427293</vt:lpwstr>
  </property>
</Properties>
</file>